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32" r:id="rId2"/>
  </p:sldMasterIdLst>
  <p:notesMasterIdLst>
    <p:notesMasterId r:id="rId18"/>
  </p:notesMasterIdLst>
  <p:sldIdLst>
    <p:sldId id="2147483315" r:id="rId3"/>
    <p:sldId id="2147483372" r:id="rId4"/>
    <p:sldId id="2147483433" r:id="rId5"/>
    <p:sldId id="2147483423" r:id="rId6"/>
    <p:sldId id="2147483422" r:id="rId7"/>
    <p:sldId id="2147483449" r:id="rId8"/>
    <p:sldId id="2147483450" r:id="rId9"/>
    <p:sldId id="2147483445" r:id="rId10"/>
    <p:sldId id="2147483446" r:id="rId11"/>
    <p:sldId id="2147483447" r:id="rId12"/>
    <p:sldId id="2147483448" r:id="rId13"/>
    <p:sldId id="2147483434" r:id="rId14"/>
    <p:sldId id="2147483416" r:id="rId15"/>
    <p:sldId id="2147483443" r:id="rId16"/>
    <p:sldId id="2147478332" r:id="rId17"/>
  </p:sldIdLst>
  <p:sldSz cx="12192000" cy="6858000"/>
  <p:notesSz cx="6797675" cy="9859963"/>
  <p:custDataLst>
    <p:tags r:id="rId1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1FD894EB-04BD-44F9-AF7B-D4BAD248A74A}">
          <p14:sldIdLst>
            <p14:sldId id="2147483315"/>
            <p14:sldId id="2147483372"/>
            <p14:sldId id="2147483433"/>
            <p14:sldId id="2147483423"/>
            <p14:sldId id="2147483422"/>
            <p14:sldId id="2147483449"/>
            <p14:sldId id="2147483450"/>
            <p14:sldId id="2147483445"/>
            <p14:sldId id="2147483446"/>
            <p14:sldId id="2147483447"/>
            <p14:sldId id="2147483448"/>
            <p14:sldId id="2147483434"/>
            <p14:sldId id="2147483416"/>
            <p14:sldId id="2147483443"/>
            <p14:sldId id="21474783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66" userDrawn="1">
          <p15:clr>
            <a:srgbClr val="A4A3A4"/>
          </p15:clr>
        </p15:guide>
        <p15:guide id="5" pos="2933" userDrawn="1">
          <p15:clr>
            <a:srgbClr val="A4A3A4"/>
          </p15:clr>
        </p15:guide>
        <p15:guide id="7" pos="6743" userDrawn="1">
          <p15:clr>
            <a:srgbClr val="A4A3A4"/>
          </p15:clr>
        </p15:guide>
        <p15:guide id="8" orient="horz" pos="595" userDrawn="1">
          <p15:clr>
            <a:srgbClr val="A4A3A4"/>
          </p15:clr>
        </p15:guide>
        <p15:guide id="10" pos="6966" userDrawn="1">
          <p15:clr>
            <a:srgbClr val="A4A3A4"/>
          </p15:clr>
        </p15:guide>
        <p15:guide id="11" orient="horz" pos="890" userDrawn="1">
          <p15:clr>
            <a:srgbClr val="A4A3A4"/>
          </p15:clr>
        </p15:guide>
        <p15:guide id="12" orient="horz" pos="2387" userDrawn="1">
          <p15:clr>
            <a:srgbClr val="A4A3A4"/>
          </p15:clr>
        </p15:guide>
        <p15:guide id="13" orient="horz" pos="3997" userDrawn="1">
          <p15:clr>
            <a:srgbClr val="A4A3A4"/>
          </p15:clr>
        </p15:guide>
        <p15:guide id="14" orient="horz" pos="1820" userDrawn="1">
          <p15:clr>
            <a:srgbClr val="A4A3A4"/>
          </p15:clr>
        </p15:guide>
        <p15:guide id="15" orient="horz" pos="288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A4"/>
    <a:srgbClr val="005471"/>
    <a:srgbClr val="C00000"/>
    <a:srgbClr val="2AA798"/>
    <a:srgbClr val="32C8B6"/>
    <a:srgbClr val="002630"/>
    <a:srgbClr val="E8E8E8"/>
    <a:srgbClr val="009999"/>
    <a:srgbClr val="7F7F7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4054DC-B2B2-4E30-B731-6810BDF5413E}" v="124" dt="2025-09-22T16:25:03.2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24" autoAdjust="0"/>
    <p:restoredTop sz="96283" autoAdjust="0"/>
  </p:normalViewPr>
  <p:slideViewPr>
    <p:cSldViewPr snapToGrid="0" showGuides="1">
      <p:cViewPr varScale="1">
        <p:scale>
          <a:sx n="107" d="100"/>
          <a:sy n="107" d="100"/>
        </p:scale>
        <p:origin x="900" y="102"/>
      </p:cViewPr>
      <p:guideLst>
        <p:guide orient="horz" pos="3566"/>
        <p:guide pos="2933"/>
        <p:guide pos="6743"/>
        <p:guide orient="horz" pos="595"/>
        <p:guide pos="6966"/>
        <p:guide orient="horz" pos="890"/>
        <p:guide orient="horz" pos="2387"/>
        <p:guide orient="horz" pos="3997"/>
        <p:guide orient="horz" pos="1820"/>
        <p:guide orient="horz" pos="2886"/>
      </p:guideLst>
    </p:cSldViewPr>
  </p:slideViewPr>
  <p:notesTextViewPr>
    <p:cViewPr>
      <p:scale>
        <a:sx n="400" d="100"/>
        <a:sy n="4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narriz Herrador Iñaki" userId="11637121-8aee-420b-9db7-54651cb06796" providerId="ADAL" clId="{A5A63F93-E248-43A4-BFE0-94814416B416}"/>
    <pc:docChg chg="undo custSel addSld modSld modSection">
      <pc:chgData name="Munarriz Herrador Iñaki" userId="11637121-8aee-420b-9db7-54651cb06796" providerId="ADAL" clId="{A5A63F93-E248-43A4-BFE0-94814416B416}" dt="2024-06-28T11:30:24.575" v="264" actId="1076"/>
      <pc:docMkLst>
        <pc:docMk/>
      </pc:docMkLst>
      <pc:sldChg chg="addSp delSp modSp add mod">
        <pc:chgData name="Munarriz Herrador Iñaki" userId="11637121-8aee-420b-9db7-54651cb06796" providerId="ADAL" clId="{A5A63F93-E248-43A4-BFE0-94814416B416}" dt="2024-06-28T11:30:24.575" v="264" actId="1076"/>
        <pc:sldMkLst>
          <pc:docMk/>
          <pc:sldMk cId="3749504679" sldId="2147483318"/>
        </pc:sldMkLst>
      </pc:sldChg>
    </pc:docChg>
  </pc:docChgLst>
  <pc:docChgLst>
    <pc:chgData name="Munarriz Herrador Iñaki" userId="11637121-8aee-420b-9db7-54651cb06796" providerId="ADAL" clId="{40696C48-91B3-44FD-BACC-CB4D5CD22FD1}"/>
    <pc:docChg chg="undo custSel addSld delSld modSld modSection">
      <pc:chgData name="Munarriz Herrador Iñaki" userId="11637121-8aee-420b-9db7-54651cb06796" providerId="ADAL" clId="{40696C48-91B3-44FD-BACC-CB4D5CD22FD1}" dt="2024-06-05T14:36:47.320" v="3083" actId="14100"/>
      <pc:docMkLst>
        <pc:docMk/>
      </pc:docMkLst>
      <pc:sldChg chg="del">
        <pc:chgData name="Munarriz Herrador Iñaki" userId="11637121-8aee-420b-9db7-54651cb06796" providerId="ADAL" clId="{40696C48-91B3-44FD-BACC-CB4D5CD22FD1}" dt="2024-05-20T16:41:50.457" v="529" actId="47"/>
        <pc:sldMkLst>
          <pc:docMk/>
          <pc:sldMk cId="1754681115" sldId="435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2097821841" sldId="459"/>
        </pc:sldMkLst>
      </pc:sldChg>
      <pc:sldChg chg="del">
        <pc:chgData name="Munarriz Herrador Iñaki" userId="11637121-8aee-420b-9db7-54651cb06796" providerId="ADAL" clId="{40696C48-91B3-44FD-BACC-CB4D5CD22FD1}" dt="2024-05-20T16:41:49.701" v="528" actId="47"/>
        <pc:sldMkLst>
          <pc:docMk/>
          <pc:sldMk cId="2722343528" sldId="480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2933988909" sldId="490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1586747582" sldId="495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434126347" sldId="497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529774298" sldId="498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048187816" sldId="500"/>
        </pc:sldMkLst>
      </pc:sldChg>
      <pc:sldChg chg="modSp add del mod">
        <pc:chgData name="Munarriz Herrador Iñaki" userId="11637121-8aee-420b-9db7-54651cb06796" providerId="ADAL" clId="{40696C48-91B3-44FD-BACC-CB4D5CD22FD1}" dt="2024-05-21T07:38:48.657" v="1110" actId="14100"/>
        <pc:sldMkLst>
          <pc:docMk/>
          <pc:sldMk cId="1616658181" sldId="806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656780474" sldId="807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900307273" sldId="808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3015382304" sldId="809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263641396" sldId="810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802874699" sldId="811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005477179" sldId="812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462443189" sldId="813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874219090" sldId="814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292986524" sldId="815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3344288659" sldId="816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71431928" sldId="817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685783883" sldId="823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903546216" sldId="824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648639592" sldId="825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715031666" sldId="826"/>
        </pc:sldMkLst>
      </pc:sldChg>
      <pc:sldChg chg="addSp delSp modSp mod">
        <pc:chgData name="Munarriz Herrador Iñaki" userId="11637121-8aee-420b-9db7-54651cb06796" providerId="ADAL" clId="{40696C48-91B3-44FD-BACC-CB4D5CD22FD1}" dt="2024-05-21T08:26:18.265" v="1733" actId="1035"/>
        <pc:sldMkLst>
          <pc:docMk/>
          <pc:sldMk cId="128532313" sldId="827"/>
        </pc:sldMkLst>
      </pc:sldChg>
      <pc:sldChg chg="addSp delSp modSp add mod">
        <pc:chgData name="Munarriz Herrador Iñaki" userId="11637121-8aee-420b-9db7-54651cb06796" providerId="ADAL" clId="{40696C48-91B3-44FD-BACC-CB4D5CD22FD1}" dt="2024-05-20T17:19:50.365" v="628" actId="478"/>
        <pc:sldMkLst>
          <pc:docMk/>
          <pc:sldMk cId="3904767837" sldId="828"/>
        </pc:sldMkLst>
      </pc:sldChg>
      <pc:sldChg chg="addSp delSp modSp add mod">
        <pc:chgData name="Munarriz Herrador Iñaki" userId="11637121-8aee-420b-9db7-54651cb06796" providerId="ADAL" clId="{40696C48-91B3-44FD-BACC-CB4D5CD22FD1}" dt="2024-05-21T08:32:10.217" v="1883" actId="20577"/>
        <pc:sldMkLst>
          <pc:docMk/>
          <pc:sldMk cId="1054402032" sldId="829"/>
        </pc:sldMkLst>
      </pc:sldChg>
      <pc:sldChg chg="delSp modSp add mod">
        <pc:chgData name="Munarriz Herrador Iñaki" userId="11637121-8aee-420b-9db7-54651cb06796" providerId="ADAL" clId="{40696C48-91B3-44FD-BACC-CB4D5CD22FD1}" dt="2024-05-20T18:08:47.991" v="1079" actId="948"/>
        <pc:sldMkLst>
          <pc:docMk/>
          <pc:sldMk cId="3474182341" sldId="830"/>
        </pc:sldMkLst>
      </pc:sldChg>
      <pc:sldChg chg="add">
        <pc:chgData name="Munarriz Herrador Iñaki" userId="11637121-8aee-420b-9db7-54651cb06796" providerId="ADAL" clId="{40696C48-91B3-44FD-BACC-CB4D5CD22FD1}" dt="2024-05-21T07:43:27.262" v="1128"/>
        <pc:sldMkLst>
          <pc:docMk/>
          <pc:sldMk cId="3682512932" sldId="2147478332"/>
        </pc:sldMkLst>
      </pc:sldChg>
      <pc:sldChg chg="modSp add mod">
        <pc:chgData name="Munarriz Herrador Iñaki" userId="11637121-8aee-420b-9db7-54651cb06796" providerId="ADAL" clId="{40696C48-91B3-44FD-BACC-CB4D5CD22FD1}" dt="2024-05-21T07:43:01.889" v="1127" actId="20577"/>
        <pc:sldMkLst>
          <pc:docMk/>
          <pc:sldMk cId="0" sldId="2147483315"/>
        </pc:sldMkLst>
      </pc:sldChg>
      <pc:sldChg chg="addSp delSp modSp add mod">
        <pc:chgData name="Munarriz Herrador Iñaki" userId="11637121-8aee-420b-9db7-54651cb06796" providerId="ADAL" clId="{40696C48-91B3-44FD-BACC-CB4D5CD22FD1}" dt="2024-06-05T14:36:47.320" v="3083" actId="14100"/>
        <pc:sldMkLst>
          <pc:docMk/>
          <pc:sldMk cId="837960401" sldId="2147483316"/>
        </pc:sldMkLst>
      </pc:sldChg>
      <pc:sldChg chg="addSp modSp add mod">
        <pc:chgData name="Munarriz Herrador Iñaki" userId="11637121-8aee-420b-9db7-54651cb06796" providerId="ADAL" clId="{40696C48-91B3-44FD-BACC-CB4D5CD22FD1}" dt="2024-06-05T11:45:50.484" v="1887" actId="1076"/>
        <pc:sldMkLst>
          <pc:docMk/>
          <pc:sldMk cId="402773593" sldId="2147483317"/>
        </pc:sldMkLst>
      </pc:sldChg>
      <pc:sldMasterChg chg="delSldLayout">
        <pc:chgData name="Munarriz Herrador Iñaki" userId="11637121-8aee-420b-9db7-54651cb06796" providerId="ADAL" clId="{40696C48-91B3-44FD-BACC-CB4D5CD22FD1}" dt="2024-05-20T08:04:21.274" v="1" actId="47"/>
        <pc:sldMasterMkLst>
          <pc:docMk/>
          <pc:sldMasterMk cId="3682351262" sldId="2147483732"/>
        </pc:sldMasterMkLst>
        <pc:sldLayoutChg chg="del">
          <pc:chgData name="Munarriz Herrador Iñaki" userId="11637121-8aee-420b-9db7-54651cb06796" providerId="ADAL" clId="{40696C48-91B3-44FD-BACC-CB4D5CD22FD1}" dt="2024-05-20T08:04:12.559" v="0" actId="47"/>
          <pc:sldLayoutMkLst>
            <pc:docMk/>
            <pc:sldMasterMk cId="3682351262" sldId="2147483732"/>
            <pc:sldLayoutMk cId="2229808591" sldId="2147483882"/>
          </pc:sldLayoutMkLst>
        </pc:sldLayoutChg>
        <pc:sldLayoutChg chg="del">
          <pc:chgData name="Munarriz Herrador Iñaki" userId="11637121-8aee-420b-9db7-54651cb06796" providerId="ADAL" clId="{40696C48-91B3-44FD-BACC-CB4D5CD22FD1}" dt="2024-05-20T08:04:21.274" v="1" actId="47"/>
          <pc:sldLayoutMkLst>
            <pc:docMk/>
            <pc:sldMasterMk cId="3682351262" sldId="2147483732"/>
            <pc:sldLayoutMk cId="3799599943" sldId="2147483883"/>
          </pc:sldLayoutMkLst>
        </pc:sldLayoutChg>
        <pc:sldLayoutChg chg="del">
          <pc:chgData name="Munarriz Herrador Iñaki" userId="11637121-8aee-420b-9db7-54651cb06796" providerId="ADAL" clId="{40696C48-91B3-44FD-BACC-CB4D5CD22FD1}" dt="2024-05-20T08:04:12.559" v="0" actId="47"/>
          <pc:sldLayoutMkLst>
            <pc:docMk/>
            <pc:sldMasterMk cId="3682351262" sldId="2147483732"/>
            <pc:sldLayoutMk cId="3704372388" sldId="2147483884"/>
          </pc:sldLayoutMkLst>
        </pc:sldLayoutChg>
      </pc:sldMasterChg>
    </pc:docChg>
  </pc:docChgLst>
  <pc:docChgLst>
    <pc:chgData name="Munarriz Herrador Iñaki" userId="11637121-8aee-420b-9db7-54651cb06796" providerId="ADAL" clId="{CAB74CB7-6DA4-4355-94E7-F63F4DFDD9E9}"/>
    <pc:docChg chg="undo redo custSel addSld delSld modSld sldOrd modSection">
      <pc:chgData name="Munarriz Herrador Iñaki" userId="11637121-8aee-420b-9db7-54651cb06796" providerId="ADAL" clId="{CAB74CB7-6DA4-4355-94E7-F63F4DFDD9E9}" dt="2025-07-03T14:10:34.715" v="1609" actId="20577"/>
      <pc:docMkLst>
        <pc:docMk/>
      </pc:docMkLst>
      <pc:sldChg chg="modSp mod">
        <pc:chgData name="Munarriz Herrador Iñaki" userId="11637121-8aee-420b-9db7-54651cb06796" providerId="ADAL" clId="{CAB74CB7-6DA4-4355-94E7-F63F4DFDD9E9}" dt="2025-07-03T14:10:34.715" v="1609" actId="20577"/>
        <pc:sldMkLst>
          <pc:docMk/>
          <pc:sldMk cId="0" sldId="2147483315"/>
        </pc:sldMkLst>
        <pc:spChg chg="mod">
          <ac:chgData name="Munarriz Herrador Iñaki" userId="11637121-8aee-420b-9db7-54651cb06796" providerId="ADAL" clId="{CAB74CB7-6DA4-4355-94E7-F63F4DFDD9E9}" dt="2025-06-26T09:56:06.521" v="3" actId="20577"/>
          <ac:spMkLst>
            <pc:docMk/>
            <pc:sldMk cId="0" sldId="2147483315"/>
            <ac:spMk id="6" creationId="{00000000-0000-0000-0000-000000000000}"/>
          </ac:spMkLst>
        </pc:spChg>
        <pc:spChg chg="mod">
          <ac:chgData name="Munarriz Herrador Iñaki" userId="11637121-8aee-420b-9db7-54651cb06796" providerId="ADAL" clId="{CAB74CB7-6DA4-4355-94E7-F63F4DFDD9E9}" dt="2025-07-03T14:10:34.715" v="1609" actId="20577"/>
          <ac:spMkLst>
            <pc:docMk/>
            <pc:sldMk cId="0" sldId="2147483315"/>
            <ac:spMk id="11" creationId="{D2ABA22D-F23D-20AB-0DA8-B06D42BD659D}"/>
          </ac:spMkLst>
        </pc:spChg>
      </pc:sldChg>
      <pc:sldChg chg="modSp mod">
        <pc:chgData name="Munarriz Herrador Iñaki" userId="11637121-8aee-420b-9db7-54651cb06796" providerId="ADAL" clId="{CAB74CB7-6DA4-4355-94E7-F63F4DFDD9E9}" dt="2025-06-30T15:43:52.306" v="1409" actId="20577"/>
        <pc:sldMkLst>
          <pc:docMk/>
          <pc:sldMk cId="88093545" sldId="2147483372"/>
        </pc:sldMkLst>
        <pc:spChg chg="mod">
          <ac:chgData name="Munarriz Herrador Iñaki" userId="11637121-8aee-420b-9db7-54651cb06796" providerId="ADAL" clId="{CAB74CB7-6DA4-4355-94E7-F63F4DFDD9E9}" dt="2025-06-30T15:43:52.306" v="1409" actId="20577"/>
          <ac:spMkLst>
            <pc:docMk/>
            <pc:sldMk cId="88093545" sldId="2147483372"/>
            <ac:spMk id="8" creationId="{B653FEEB-5B1B-5220-1426-D789485673FE}"/>
          </ac:spMkLst>
        </pc:spChg>
      </pc:sldChg>
      <pc:sldChg chg="addSp delSp modSp mod">
        <pc:chgData name="Munarriz Herrador Iñaki" userId="11637121-8aee-420b-9db7-54651cb06796" providerId="ADAL" clId="{CAB74CB7-6DA4-4355-94E7-F63F4DFDD9E9}" dt="2025-06-27T11:36:17.207" v="1364"/>
        <pc:sldMkLst>
          <pc:docMk/>
          <pc:sldMk cId="1243781170" sldId="2147483373"/>
        </pc:sldMkLst>
      </pc:sldChg>
      <pc:sldChg chg="addSp delSp modSp mod">
        <pc:chgData name="Munarriz Herrador Iñaki" userId="11637121-8aee-420b-9db7-54651cb06796" providerId="ADAL" clId="{CAB74CB7-6DA4-4355-94E7-F63F4DFDD9E9}" dt="2025-06-27T10:54:47.297" v="1263" actId="20577"/>
        <pc:sldMkLst>
          <pc:docMk/>
          <pc:sldMk cId="2085739677" sldId="2147483401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2425737149" sldId="2147483402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2876304681" sldId="2147483403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1567361310" sldId="2147483404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559595493" sldId="2147483405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1724892760" sldId="2147483406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3545608862" sldId="2147483407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624714175" sldId="2147483408"/>
        </pc:sldMkLst>
      </pc:sldChg>
      <pc:sldChg chg="addSp delSp modSp mod">
        <pc:chgData name="Munarriz Herrador Iñaki" userId="11637121-8aee-420b-9db7-54651cb06796" providerId="ADAL" clId="{CAB74CB7-6DA4-4355-94E7-F63F4DFDD9E9}" dt="2025-06-30T16:21:35.648" v="1607" actId="554"/>
        <pc:sldMkLst>
          <pc:docMk/>
          <pc:sldMk cId="2428685999" sldId="2147483409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792640642" sldId="2147483410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2680299840" sldId="2147483412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1307132154" sldId="2147483414"/>
        </pc:sldMkLst>
      </pc:sldChg>
      <pc:sldChg chg="addSp delSp modSp mod">
        <pc:chgData name="Munarriz Herrador Iñaki" userId="11637121-8aee-420b-9db7-54651cb06796" providerId="ADAL" clId="{CAB74CB7-6DA4-4355-94E7-F63F4DFDD9E9}" dt="2025-06-30T16:20:57.829" v="1593" actId="14100"/>
        <pc:sldMkLst>
          <pc:docMk/>
          <pc:sldMk cId="17658299" sldId="2147483415"/>
        </pc:sldMkLst>
      </pc:sldChg>
      <pc:sldChg chg="modSp add del mod">
        <pc:chgData name="Munarriz Herrador Iñaki" userId="11637121-8aee-420b-9db7-54651cb06796" providerId="ADAL" clId="{CAB74CB7-6DA4-4355-94E7-F63F4DFDD9E9}" dt="2025-06-30T15:57:52.101" v="1580" actId="20577"/>
        <pc:sldMkLst>
          <pc:docMk/>
          <pc:sldMk cId="2523228152" sldId="2147483416"/>
        </pc:sldMkLst>
      </pc:sldChg>
      <pc:sldChg chg="addSp delSp modSp add del mod">
        <pc:chgData name="Munarriz Herrador Iñaki" userId="11637121-8aee-420b-9db7-54651cb06796" providerId="ADAL" clId="{CAB74CB7-6DA4-4355-94E7-F63F4DFDD9E9}" dt="2025-06-30T15:57:44.642" v="1577" actId="1076"/>
        <pc:sldMkLst>
          <pc:docMk/>
          <pc:sldMk cId="3043515397" sldId="2147483417"/>
        </pc:sldMkLst>
      </pc:sldChg>
      <pc:sldChg chg="add 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689606832" sldId="2147483418"/>
        </pc:sldMkLst>
      </pc:sldChg>
      <pc:sldChg chg="addSp delSp modSp add mod ord">
        <pc:chgData name="Munarriz Herrador Iñaki" userId="11637121-8aee-420b-9db7-54651cb06796" providerId="ADAL" clId="{CAB74CB7-6DA4-4355-94E7-F63F4DFDD9E9}" dt="2025-06-27T10:54:43.850" v="1262" actId="20577"/>
        <pc:sldMkLst>
          <pc:docMk/>
          <pc:sldMk cId="2941204618" sldId="2147483419"/>
        </pc:sldMkLst>
      </pc:sldChg>
      <pc:sldChg chg="addSp delSp modSp add mod ord">
        <pc:chgData name="Munarriz Herrador Iñaki" userId="11637121-8aee-420b-9db7-54651cb06796" providerId="ADAL" clId="{CAB74CB7-6DA4-4355-94E7-F63F4DFDD9E9}" dt="2025-06-27T10:54:35.158" v="1259" actId="20577"/>
        <pc:sldMkLst>
          <pc:docMk/>
          <pc:sldMk cId="2241293320" sldId="2147483420"/>
        </pc:sldMkLst>
      </pc:sldChg>
      <pc:sldChg chg="addSp delSp modSp add mod">
        <pc:chgData name="Munarriz Herrador Iñaki" userId="11637121-8aee-420b-9db7-54651cb06796" providerId="ADAL" clId="{CAB74CB7-6DA4-4355-94E7-F63F4DFDD9E9}" dt="2025-06-27T10:54:38.456" v="1260" actId="20577"/>
        <pc:sldMkLst>
          <pc:docMk/>
          <pc:sldMk cId="3338159658" sldId="2147483421"/>
        </pc:sldMkLst>
      </pc:sldChg>
      <pc:sldChg chg="addSp delSp modSp add mod">
        <pc:chgData name="Munarriz Herrador Iñaki" userId="11637121-8aee-420b-9db7-54651cb06796" providerId="ADAL" clId="{CAB74CB7-6DA4-4355-94E7-F63F4DFDD9E9}" dt="2025-06-27T10:54:40.642" v="1261" actId="20577"/>
        <pc:sldMkLst>
          <pc:docMk/>
          <pc:sldMk cId="2221249643" sldId="2147483422"/>
        </pc:sldMkLst>
        <pc:spChg chg="mod">
          <ac:chgData name="Munarriz Herrador Iñaki" userId="11637121-8aee-420b-9db7-54651cb06796" providerId="ADAL" clId="{CAB74CB7-6DA4-4355-94E7-F63F4DFDD9E9}" dt="2025-06-27T10:54:40.642" v="1261" actId="20577"/>
          <ac:spMkLst>
            <pc:docMk/>
            <pc:sldMk cId="2221249643" sldId="2147483422"/>
            <ac:spMk id="2" creationId="{9D2F6C1D-FEDC-702C-5020-F94D872F3968}"/>
          </ac:spMkLst>
        </pc:spChg>
        <pc:spChg chg="mod">
          <ac:chgData name="Munarriz Herrador Iñaki" userId="11637121-8aee-420b-9db7-54651cb06796" providerId="ADAL" clId="{CAB74CB7-6DA4-4355-94E7-F63F4DFDD9E9}" dt="2025-06-26T11:31:57.705" v="254"/>
          <ac:spMkLst>
            <pc:docMk/>
            <pc:sldMk cId="2221249643" sldId="2147483422"/>
            <ac:spMk id="4" creationId="{D808C393-A724-2032-9DE8-0B1B1BCFE463}"/>
          </ac:spMkLst>
        </pc:spChg>
        <pc:spChg chg="mod">
          <ac:chgData name="Munarriz Herrador Iñaki" userId="11637121-8aee-420b-9db7-54651cb06796" providerId="ADAL" clId="{CAB74CB7-6DA4-4355-94E7-F63F4DFDD9E9}" dt="2025-06-26T11:32:26.242" v="264" actId="113"/>
          <ac:spMkLst>
            <pc:docMk/>
            <pc:sldMk cId="2221249643" sldId="2147483422"/>
            <ac:spMk id="6" creationId="{646AC361-A9CD-B09B-FD22-3A537C56C047}"/>
          </ac:spMkLst>
        </pc:spChg>
        <pc:spChg chg="mod">
          <ac:chgData name="Munarriz Herrador Iñaki" userId="11637121-8aee-420b-9db7-54651cb06796" providerId="ADAL" clId="{CAB74CB7-6DA4-4355-94E7-F63F4DFDD9E9}" dt="2025-06-26T11:33:10.529" v="271" actId="6549"/>
          <ac:spMkLst>
            <pc:docMk/>
            <pc:sldMk cId="2221249643" sldId="2147483422"/>
            <ac:spMk id="7" creationId="{F411F693-FDAB-4FEE-A7CF-AF434D3FE9C7}"/>
          </ac:spMkLst>
        </pc:spChg>
      </pc:sldChg>
      <pc:sldChg chg="addSp delSp modSp add mod ord">
        <pc:chgData name="Munarriz Herrador Iñaki" userId="11637121-8aee-420b-9db7-54651cb06796" providerId="ADAL" clId="{CAB74CB7-6DA4-4355-94E7-F63F4DFDD9E9}" dt="2025-06-27T11:31:56.722" v="1340" actId="20577"/>
        <pc:sldMkLst>
          <pc:docMk/>
          <pc:sldMk cId="2604043654" sldId="2147483423"/>
        </pc:sldMkLst>
        <pc:spChg chg="mod">
          <ac:chgData name="Munarriz Herrador Iñaki" userId="11637121-8aee-420b-9db7-54651cb06796" providerId="ADAL" clId="{CAB74CB7-6DA4-4355-94E7-F63F4DFDD9E9}" dt="2025-06-27T10:54:28.618" v="1257" actId="20577"/>
          <ac:spMkLst>
            <pc:docMk/>
            <pc:sldMk cId="2604043654" sldId="2147483423"/>
            <ac:spMk id="2" creationId="{C8035EEC-9AC8-B71D-AB5F-8B13BF6A5FF3}"/>
          </ac:spMkLst>
        </pc:spChg>
        <pc:spChg chg="mod">
          <ac:chgData name="Munarriz Herrador Iñaki" userId="11637121-8aee-420b-9db7-54651cb06796" providerId="ADAL" clId="{CAB74CB7-6DA4-4355-94E7-F63F4DFDD9E9}" dt="2025-06-27T11:31:43.940" v="1338" actId="113"/>
          <ac:spMkLst>
            <pc:docMk/>
            <pc:sldMk cId="2604043654" sldId="2147483423"/>
            <ac:spMk id="6" creationId="{7F3A3E6B-049F-605D-9A22-A38D364AFB3E}"/>
          </ac:spMkLst>
        </pc:spChg>
        <pc:spChg chg="mod">
          <ac:chgData name="Munarriz Herrador Iñaki" userId="11637121-8aee-420b-9db7-54651cb06796" providerId="ADAL" clId="{CAB74CB7-6DA4-4355-94E7-F63F4DFDD9E9}" dt="2025-06-27T10:24:59.489" v="1177" actId="1036"/>
          <ac:spMkLst>
            <pc:docMk/>
            <pc:sldMk cId="2604043654" sldId="2147483423"/>
            <ac:spMk id="7" creationId="{2C7BA4D6-FEDC-25EB-0371-FF4CD00D153F}"/>
          </ac:spMkLst>
        </pc:spChg>
      </pc:sldChg>
      <pc:sldChg chg="addSp delSp modSp add del mod">
        <pc:chgData name="Munarriz Herrador Iñaki" userId="11637121-8aee-420b-9db7-54651cb06796" providerId="ADAL" clId="{CAB74CB7-6DA4-4355-94E7-F63F4DFDD9E9}" dt="2025-06-27T08:53:16.995" v="830" actId="47"/>
        <pc:sldMkLst>
          <pc:docMk/>
          <pc:sldMk cId="1092868967" sldId="2147483424"/>
        </pc:sldMkLst>
      </pc:sldChg>
      <pc:sldChg chg="addSp delSp modSp add mod">
        <pc:chgData name="Munarriz Herrador Iñaki" userId="11637121-8aee-420b-9db7-54651cb06796" providerId="ADAL" clId="{CAB74CB7-6DA4-4355-94E7-F63F4DFDD9E9}" dt="2025-06-27T08:37:13.127" v="777" actId="693"/>
        <pc:sldMkLst>
          <pc:docMk/>
          <pc:sldMk cId="4052193775" sldId="2147483425"/>
        </pc:sldMkLst>
      </pc:sldChg>
      <pc:sldChg chg="addSp delSp modSp add mod">
        <pc:chgData name="Munarriz Herrador Iñaki" userId="11637121-8aee-420b-9db7-54651cb06796" providerId="ADAL" clId="{CAB74CB7-6DA4-4355-94E7-F63F4DFDD9E9}" dt="2025-06-26T15:30:59.644" v="517" actId="20577"/>
        <pc:sldMkLst>
          <pc:docMk/>
          <pc:sldMk cId="311068668" sldId="2147483426"/>
        </pc:sldMkLst>
      </pc:sldChg>
      <pc:sldChg chg="addSp delSp modSp add mod">
        <pc:chgData name="Munarriz Herrador Iñaki" userId="11637121-8aee-420b-9db7-54651cb06796" providerId="ADAL" clId="{CAB74CB7-6DA4-4355-94E7-F63F4DFDD9E9}" dt="2025-06-27T09:45:13.859" v="1026"/>
        <pc:sldMkLst>
          <pc:docMk/>
          <pc:sldMk cId="3711774561" sldId="2147483427"/>
        </pc:sldMkLst>
      </pc:sldChg>
      <pc:sldChg chg="add del">
        <pc:chgData name="Munarriz Herrador Iñaki" userId="11637121-8aee-420b-9db7-54651cb06796" providerId="ADAL" clId="{CAB74CB7-6DA4-4355-94E7-F63F4DFDD9E9}" dt="2025-06-26T16:46:39.744" v="612" actId="47"/>
        <pc:sldMkLst>
          <pc:docMk/>
          <pc:sldMk cId="3988699588" sldId="2147483428"/>
        </pc:sldMkLst>
      </pc:sldChg>
      <pc:sldChg chg="addSp delSp modSp add mod">
        <pc:chgData name="Munarriz Herrador Iñaki" userId="11637121-8aee-420b-9db7-54651cb06796" providerId="ADAL" clId="{CAB74CB7-6DA4-4355-94E7-F63F4DFDD9E9}" dt="2025-06-27T08:43:29.798" v="824" actId="20577"/>
        <pc:sldMkLst>
          <pc:docMk/>
          <pc:sldMk cId="2610362918" sldId="2147483429"/>
        </pc:sldMkLst>
      </pc:sldChg>
      <pc:sldChg chg="addSp modSp add mod">
        <pc:chgData name="Munarriz Herrador Iñaki" userId="11637121-8aee-420b-9db7-54651cb06796" providerId="ADAL" clId="{CAB74CB7-6DA4-4355-94E7-F63F4DFDD9E9}" dt="2025-06-27T08:41:09.408" v="803" actId="1076"/>
        <pc:sldMkLst>
          <pc:docMk/>
          <pc:sldMk cId="2915422796" sldId="2147483430"/>
        </pc:sldMkLst>
      </pc:sldChg>
      <pc:sldChg chg="addSp modSp add mod">
        <pc:chgData name="Munarriz Herrador Iñaki" userId="11637121-8aee-420b-9db7-54651cb06796" providerId="ADAL" clId="{CAB74CB7-6DA4-4355-94E7-F63F4DFDD9E9}" dt="2025-06-27T09:47:53.936" v="1103" actId="1038"/>
        <pc:sldMkLst>
          <pc:docMk/>
          <pc:sldMk cId="1786951196" sldId="2147483431"/>
        </pc:sldMkLst>
      </pc:sldChg>
    </pc:docChg>
  </pc:docChgLst>
  <pc:docChgLst>
    <pc:chgData name="Munarriz Herrador Iñaki" userId="11637121-8aee-420b-9db7-54651cb06796" providerId="ADAL" clId="{2C3D0F59-EDFA-4449-90D5-79281DD6DAB5}"/>
    <pc:docChg chg="undo custSel addSld delSld modSld sldOrd modSection">
      <pc:chgData name="Munarriz Herrador Iñaki" userId="11637121-8aee-420b-9db7-54651cb06796" providerId="ADAL" clId="{2C3D0F59-EDFA-4449-90D5-79281DD6DAB5}" dt="2025-01-27T16:09:21.311" v="5151" actId="1076"/>
      <pc:docMkLst>
        <pc:docMk/>
      </pc:docMkLst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1616658181" sldId="806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128532313" sldId="827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3904767837" sldId="828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1054402032" sldId="829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3474182341" sldId="830"/>
        </pc:sldMkLst>
      </pc:sldChg>
      <pc:sldChg chg="modSp mod">
        <pc:chgData name="Munarriz Herrador Iñaki" userId="11637121-8aee-420b-9db7-54651cb06796" providerId="ADAL" clId="{2C3D0F59-EDFA-4449-90D5-79281DD6DAB5}" dt="2025-01-23T16:08:53.805" v="1171" actId="20577"/>
        <pc:sldMkLst>
          <pc:docMk/>
          <pc:sldMk cId="0" sldId="2147483315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837960401" sldId="2147483316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402773593" sldId="2147483317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3749504679" sldId="2147483318"/>
        </pc:sldMkLst>
      </pc:sldChg>
      <pc:sldChg chg="modSp add del mod">
        <pc:chgData name="Munarriz Herrador Iñaki" userId="11637121-8aee-420b-9db7-54651cb06796" providerId="ADAL" clId="{2C3D0F59-EDFA-4449-90D5-79281DD6DAB5}" dt="2025-01-23T15:43:06.260" v="393" actId="47"/>
        <pc:sldMkLst>
          <pc:docMk/>
          <pc:sldMk cId="548997039" sldId="2147483371"/>
        </pc:sldMkLst>
      </pc:sldChg>
      <pc:sldChg chg="addSp delSp modSp add mod">
        <pc:chgData name="Munarriz Herrador Iñaki" userId="11637121-8aee-420b-9db7-54651cb06796" providerId="ADAL" clId="{2C3D0F59-EDFA-4449-90D5-79281DD6DAB5}" dt="2025-01-24T12:25:53.088" v="4071" actId="20577"/>
        <pc:sldMkLst>
          <pc:docMk/>
          <pc:sldMk cId="88093545" sldId="2147483372"/>
        </pc:sldMkLst>
      </pc:sldChg>
      <pc:sldChg chg="addSp delSp modSp add mod ord">
        <pc:chgData name="Munarriz Herrador Iñaki" userId="11637121-8aee-420b-9db7-54651cb06796" providerId="ADAL" clId="{2C3D0F59-EDFA-4449-90D5-79281DD6DAB5}" dt="2025-01-24T13:14:45.156" v="4213" actId="113"/>
        <pc:sldMkLst>
          <pc:docMk/>
          <pc:sldMk cId="1243781170" sldId="2147483373"/>
        </pc:sldMkLst>
      </pc:sldChg>
      <pc:sldChg chg="new del">
        <pc:chgData name="Munarriz Herrador Iñaki" userId="11637121-8aee-420b-9db7-54651cb06796" providerId="ADAL" clId="{2C3D0F59-EDFA-4449-90D5-79281DD6DAB5}" dt="2025-01-23T15:36:40.221" v="285" actId="47"/>
        <pc:sldMkLst>
          <pc:docMk/>
          <pc:sldMk cId="1270524578" sldId="2147483373"/>
        </pc:sldMkLst>
      </pc:sldChg>
      <pc:sldChg chg="addSp delSp modSp add mod setBg">
        <pc:chgData name="Munarriz Herrador Iñaki" userId="11637121-8aee-420b-9db7-54651cb06796" providerId="ADAL" clId="{2C3D0F59-EDFA-4449-90D5-79281DD6DAB5}" dt="2025-01-27T08:15:27.464" v="4360" actId="1076"/>
        <pc:sldMkLst>
          <pc:docMk/>
          <pc:sldMk cId="3267060004" sldId="2147483374"/>
        </pc:sldMkLst>
      </pc:sldChg>
      <pc:sldChg chg="addSp delSp modSp add mod">
        <pc:chgData name="Munarriz Herrador Iñaki" userId="11637121-8aee-420b-9db7-54651cb06796" providerId="ADAL" clId="{2C3D0F59-EDFA-4449-90D5-79281DD6DAB5}" dt="2025-01-24T11:12:21.600" v="3175" actId="14100"/>
        <pc:sldMkLst>
          <pc:docMk/>
          <pc:sldMk cId="61861682" sldId="2147483375"/>
        </pc:sldMkLst>
      </pc:sldChg>
      <pc:sldChg chg="addSp modSp add del mod">
        <pc:chgData name="Munarriz Herrador Iñaki" userId="11637121-8aee-420b-9db7-54651cb06796" providerId="ADAL" clId="{2C3D0F59-EDFA-4449-90D5-79281DD6DAB5}" dt="2025-01-24T12:05:01.666" v="3805" actId="47"/>
        <pc:sldMkLst>
          <pc:docMk/>
          <pc:sldMk cId="1239163435" sldId="2147483376"/>
        </pc:sldMkLst>
      </pc:sldChg>
      <pc:sldChg chg="addSp modSp add del mod">
        <pc:chgData name="Munarriz Herrador Iñaki" userId="11637121-8aee-420b-9db7-54651cb06796" providerId="ADAL" clId="{2C3D0F59-EDFA-4449-90D5-79281DD6DAB5}" dt="2025-01-24T12:26:12.179" v="4072" actId="47"/>
        <pc:sldMkLst>
          <pc:docMk/>
          <pc:sldMk cId="3161292302" sldId="2147483377"/>
        </pc:sldMkLst>
      </pc:sldChg>
      <pc:sldChg chg="addSp modSp add mod">
        <pc:chgData name="Munarriz Herrador Iñaki" userId="11637121-8aee-420b-9db7-54651cb06796" providerId="ADAL" clId="{2C3D0F59-EDFA-4449-90D5-79281DD6DAB5}" dt="2025-01-27T11:32:34.245" v="4838" actId="20577"/>
        <pc:sldMkLst>
          <pc:docMk/>
          <pc:sldMk cId="3116799561" sldId="2147483378"/>
        </pc:sldMkLst>
      </pc:sldChg>
      <pc:sldChg chg="addSp delSp modSp add mod">
        <pc:chgData name="Munarriz Herrador Iñaki" userId="11637121-8aee-420b-9db7-54651cb06796" providerId="ADAL" clId="{2C3D0F59-EDFA-4449-90D5-79281DD6DAB5}" dt="2025-01-24T13:13:41.478" v="4205" actId="113"/>
        <pc:sldMkLst>
          <pc:docMk/>
          <pc:sldMk cId="2818866366" sldId="2147483379"/>
        </pc:sldMkLst>
      </pc:sldChg>
      <pc:sldChg chg="addSp delSp modSp add mod">
        <pc:chgData name="Munarriz Herrador Iñaki" userId="11637121-8aee-420b-9db7-54651cb06796" providerId="ADAL" clId="{2C3D0F59-EDFA-4449-90D5-79281DD6DAB5}" dt="2025-01-24T13:30:37.129" v="4289" actId="20577"/>
        <pc:sldMkLst>
          <pc:docMk/>
          <pc:sldMk cId="2837213026" sldId="2147483380"/>
        </pc:sldMkLst>
      </pc:sldChg>
      <pc:sldChg chg="addSp delSp modSp add del mod">
        <pc:chgData name="Munarriz Herrador Iñaki" userId="11637121-8aee-420b-9db7-54651cb06796" providerId="ADAL" clId="{2C3D0F59-EDFA-4449-90D5-79281DD6DAB5}" dt="2025-01-24T12:05:00.683" v="3804" actId="47"/>
        <pc:sldMkLst>
          <pc:docMk/>
          <pc:sldMk cId="2583614594" sldId="2147483381"/>
        </pc:sldMkLst>
      </pc:sldChg>
      <pc:sldChg chg="addSp delSp modSp add del mod">
        <pc:chgData name="Munarriz Herrador Iñaki" userId="11637121-8aee-420b-9db7-54651cb06796" providerId="ADAL" clId="{2C3D0F59-EDFA-4449-90D5-79281DD6DAB5}" dt="2025-01-24T09:26:06.545" v="2976" actId="47"/>
        <pc:sldMkLst>
          <pc:docMk/>
          <pc:sldMk cId="2527052421" sldId="2147483382"/>
        </pc:sldMkLst>
      </pc:sldChg>
      <pc:sldChg chg="addSp delSp modSp add del mod">
        <pc:chgData name="Munarriz Herrador Iñaki" userId="11637121-8aee-420b-9db7-54651cb06796" providerId="ADAL" clId="{2C3D0F59-EDFA-4449-90D5-79281DD6DAB5}" dt="2025-01-24T09:26:02.470" v="2975" actId="47"/>
        <pc:sldMkLst>
          <pc:docMk/>
          <pc:sldMk cId="4122967616" sldId="2147483383"/>
        </pc:sldMkLst>
      </pc:sldChg>
      <pc:sldChg chg="addSp delSp modSp add mod">
        <pc:chgData name="Munarriz Herrador Iñaki" userId="11637121-8aee-420b-9db7-54651cb06796" providerId="ADAL" clId="{2C3D0F59-EDFA-4449-90D5-79281DD6DAB5}" dt="2025-01-27T11:30:24.482" v="4723" actId="20577"/>
        <pc:sldMkLst>
          <pc:docMk/>
          <pc:sldMk cId="2100245951" sldId="2147483384"/>
        </pc:sldMkLst>
      </pc:sldChg>
      <pc:sldChg chg="addSp modSp add del mod">
        <pc:chgData name="Munarriz Herrador Iñaki" userId="11637121-8aee-420b-9db7-54651cb06796" providerId="ADAL" clId="{2C3D0F59-EDFA-4449-90D5-79281DD6DAB5}" dt="2025-01-27T12:14:43.207" v="5128" actId="47"/>
        <pc:sldMkLst>
          <pc:docMk/>
          <pc:sldMk cId="1402537860" sldId="2147483385"/>
        </pc:sldMkLst>
      </pc:sldChg>
      <pc:sldChg chg="addSp delSp modSp add mod ord">
        <pc:chgData name="Munarriz Herrador Iñaki" userId="11637121-8aee-420b-9db7-54651cb06796" providerId="ADAL" clId="{2C3D0F59-EDFA-4449-90D5-79281DD6DAB5}" dt="2025-01-27T12:14:51.140" v="5129" actId="14100"/>
        <pc:sldMkLst>
          <pc:docMk/>
          <pc:sldMk cId="2201393827" sldId="2147483386"/>
        </pc:sldMkLst>
      </pc:sldChg>
      <pc:sldChg chg="addSp delSp modSp add mod">
        <pc:chgData name="Munarriz Herrador Iñaki" userId="11637121-8aee-420b-9db7-54651cb06796" providerId="ADAL" clId="{2C3D0F59-EDFA-4449-90D5-79281DD6DAB5}" dt="2025-01-27T16:09:21.311" v="5151" actId="1076"/>
        <pc:sldMkLst>
          <pc:docMk/>
          <pc:sldMk cId="1177571145" sldId="2147483387"/>
        </pc:sldMkLst>
      </pc:sldChg>
    </pc:docChg>
  </pc:docChgLst>
  <pc:docChgLst>
    <pc:chgData name="Munarriz Herrador Iñaki" userId="11637121-8aee-420b-9db7-54651cb06796" providerId="ADAL" clId="{D346BDBC-FFFB-46A0-8E64-975E5FEF44DF}"/>
    <pc:docChg chg="undo redo custSel addSld delSld modSld sldOrd modSection">
      <pc:chgData name="Munarriz Herrador Iñaki" userId="11637121-8aee-420b-9db7-54651cb06796" providerId="ADAL" clId="{D346BDBC-FFFB-46A0-8E64-975E5FEF44DF}" dt="2025-06-17T15:59:51.871" v="2484" actId="1035"/>
      <pc:docMkLst>
        <pc:docMk/>
      </pc:docMkLst>
      <pc:sldChg chg="modSp mod">
        <pc:chgData name="Munarriz Herrador Iñaki" userId="11637121-8aee-420b-9db7-54651cb06796" providerId="ADAL" clId="{D346BDBC-FFFB-46A0-8E64-975E5FEF44DF}" dt="2025-06-15T06:23:16.734" v="31" actId="20577"/>
        <pc:sldMkLst>
          <pc:docMk/>
          <pc:sldMk cId="0" sldId="2147483315"/>
        </pc:sldMkLst>
      </pc:sldChg>
      <pc:sldChg chg="modSp mod">
        <pc:chgData name="Munarriz Herrador Iñaki" userId="11637121-8aee-420b-9db7-54651cb06796" providerId="ADAL" clId="{D346BDBC-FFFB-46A0-8E64-975E5FEF44DF}" dt="2025-06-17T11:29:31.957" v="1880" actId="207"/>
        <pc:sldMkLst>
          <pc:docMk/>
          <pc:sldMk cId="88093545" sldId="2147483372"/>
        </pc:sldMkLst>
      </pc:sldChg>
      <pc:sldChg chg="addSp delSp modSp mod">
        <pc:chgData name="Munarriz Herrador Iñaki" userId="11637121-8aee-420b-9db7-54651cb06796" providerId="ADAL" clId="{D346BDBC-FFFB-46A0-8E64-975E5FEF44DF}" dt="2025-06-16T05:54:11.001" v="1569" actId="20577"/>
        <pc:sldMkLst>
          <pc:docMk/>
          <pc:sldMk cId="1243781170" sldId="2147483373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818866366" sldId="2147483379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3033939552" sldId="2147483388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937404720" sldId="2147483389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538967907" sldId="2147483390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900280720" sldId="2147483391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649532606" sldId="2147483395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4055449794" sldId="2147483397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877243688" sldId="2147483398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3820138667" sldId="2147483399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3328959841" sldId="2147483400"/>
        </pc:sldMkLst>
      </pc:sldChg>
      <pc:sldChg chg="addSp delSp modSp add mod">
        <pc:chgData name="Munarriz Herrador Iñaki" userId="11637121-8aee-420b-9db7-54651cb06796" providerId="ADAL" clId="{D346BDBC-FFFB-46A0-8E64-975E5FEF44DF}" dt="2025-06-16T05:54:14.810" v="1571" actId="20577"/>
        <pc:sldMkLst>
          <pc:docMk/>
          <pc:sldMk cId="2085739677" sldId="2147483401"/>
        </pc:sldMkLst>
      </pc:sldChg>
      <pc:sldChg chg="addSp delSp modSp add mod">
        <pc:chgData name="Munarriz Herrador Iñaki" userId="11637121-8aee-420b-9db7-54651cb06796" providerId="ADAL" clId="{D346BDBC-FFFB-46A0-8E64-975E5FEF44DF}" dt="2025-06-16T05:54:18.735" v="1573" actId="20577"/>
        <pc:sldMkLst>
          <pc:docMk/>
          <pc:sldMk cId="2425737149" sldId="2147483402"/>
        </pc:sldMkLst>
      </pc:sldChg>
      <pc:sldChg chg="addSp delSp modSp add mod">
        <pc:chgData name="Munarriz Herrador Iñaki" userId="11637121-8aee-420b-9db7-54651cb06796" providerId="ADAL" clId="{D346BDBC-FFFB-46A0-8E64-975E5FEF44DF}" dt="2025-06-16T05:54:23.361" v="1575" actId="20577"/>
        <pc:sldMkLst>
          <pc:docMk/>
          <pc:sldMk cId="2876304681" sldId="2147483403"/>
        </pc:sldMkLst>
      </pc:sldChg>
      <pc:sldChg chg="addSp delSp modSp add mod">
        <pc:chgData name="Munarriz Herrador Iñaki" userId="11637121-8aee-420b-9db7-54651cb06796" providerId="ADAL" clId="{D346BDBC-FFFB-46A0-8E64-975E5FEF44DF}" dt="2025-06-16T05:54:27.640" v="1577" actId="20577"/>
        <pc:sldMkLst>
          <pc:docMk/>
          <pc:sldMk cId="1567361310" sldId="2147483404"/>
        </pc:sldMkLst>
      </pc:sldChg>
      <pc:sldChg chg="addSp delSp modSp add mod">
        <pc:chgData name="Munarriz Herrador Iñaki" userId="11637121-8aee-420b-9db7-54651cb06796" providerId="ADAL" clId="{D346BDBC-FFFB-46A0-8E64-975E5FEF44DF}" dt="2025-06-16T05:54:35.051" v="1579" actId="20577"/>
        <pc:sldMkLst>
          <pc:docMk/>
          <pc:sldMk cId="559595493" sldId="2147483405"/>
        </pc:sldMkLst>
      </pc:sldChg>
      <pc:sldChg chg="addSp delSp modSp add mod">
        <pc:chgData name="Munarriz Herrador Iñaki" userId="11637121-8aee-420b-9db7-54651cb06796" providerId="ADAL" clId="{D346BDBC-FFFB-46A0-8E64-975E5FEF44DF}" dt="2025-06-16T05:54:39.633" v="1581" actId="20577"/>
        <pc:sldMkLst>
          <pc:docMk/>
          <pc:sldMk cId="1724892760" sldId="2147483406"/>
        </pc:sldMkLst>
      </pc:sldChg>
      <pc:sldChg chg="addSp delSp modSp add mod">
        <pc:chgData name="Munarriz Herrador Iñaki" userId="11637121-8aee-420b-9db7-54651cb06796" providerId="ADAL" clId="{D346BDBC-FFFB-46A0-8E64-975E5FEF44DF}" dt="2025-06-16T05:54:43.468" v="1583" actId="20577"/>
        <pc:sldMkLst>
          <pc:docMk/>
          <pc:sldMk cId="3545608862" sldId="2147483407"/>
        </pc:sldMkLst>
      </pc:sldChg>
      <pc:sldChg chg="addSp delSp modSp add mod">
        <pc:chgData name="Munarriz Herrador Iñaki" userId="11637121-8aee-420b-9db7-54651cb06796" providerId="ADAL" clId="{D346BDBC-FFFB-46A0-8E64-975E5FEF44DF}" dt="2025-06-16T05:54:47.921" v="1585" actId="20577"/>
        <pc:sldMkLst>
          <pc:docMk/>
          <pc:sldMk cId="624714175" sldId="2147483408"/>
        </pc:sldMkLst>
      </pc:sldChg>
      <pc:sldChg chg="addSp delSp modSp add mod ord">
        <pc:chgData name="Munarriz Herrador Iñaki" userId="11637121-8aee-420b-9db7-54651cb06796" providerId="ADAL" clId="{D346BDBC-FFFB-46A0-8E64-975E5FEF44DF}" dt="2025-06-17T11:28:15.589" v="1848" actId="20577"/>
        <pc:sldMkLst>
          <pc:docMk/>
          <pc:sldMk cId="2428685999" sldId="2147483409"/>
        </pc:sldMkLst>
      </pc:sldChg>
      <pc:sldChg chg="addSp delSp modSp add mod">
        <pc:chgData name="Munarriz Herrador Iñaki" userId="11637121-8aee-420b-9db7-54651cb06796" providerId="ADAL" clId="{D346BDBC-FFFB-46A0-8E64-975E5FEF44DF}" dt="2025-06-16T05:54:52.018" v="1587" actId="20577"/>
        <pc:sldMkLst>
          <pc:docMk/>
          <pc:sldMk cId="792640642" sldId="2147483410"/>
        </pc:sldMkLst>
      </pc:sldChg>
      <pc:sldChg chg="modSp add del mod">
        <pc:chgData name="Munarriz Herrador Iñaki" userId="11637121-8aee-420b-9db7-54651cb06796" providerId="ADAL" clId="{D346BDBC-FFFB-46A0-8E64-975E5FEF44DF}" dt="2025-06-15T22:41:15.340" v="1547" actId="47"/>
        <pc:sldMkLst>
          <pc:docMk/>
          <pc:sldMk cId="3135902622" sldId="2147483411"/>
        </pc:sldMkLst>
      </pc:sldChg>
      <pc:sldChg chg="addSp modSp add mod">
        <pc:chgData name="Munarriz Herrador Iñaki" userId="11637121-8aee-420b-9db7-54651cb06796" providerId="ADAL" clId="{D346BDBC-FFFB-46A0-8E64-975E5FEF44DF}" dt="2025-06-16T14:49:20.895" v="1756" actId="20577"/>
        <pc:sldMkLst>
          <pc:docMk/>
          <pc:sldMk cId="2680299840" sldId="2147483412"/>
        </pc:sldMkLst>
      </pc:sldChg>
      <pc:sldChg chg="modSp add del mod">
        <pc:chgData name="Munarriz Herrador Iñaki" userId="11637121-8aee-420b-9db7-54651cb06796" providerId="ADAL" clId="{D346BDBC-FFFB-46A0-8E64-975E5FEF44DF}" dt="2025-06-15T22:36:06.170" v="1533" actId="47"/>
        <pc:sldMkLst>
          <pc:docMk/>
          <pc:sldMk cId="774817878" sldId="2147483413"/>
        </pc:sldMkLst>
      </pc:sldChg>
      <pc:sldChg chg="addSp modSp add mod">
        <pc:chgData name="Munarriz Herrador Iñaki" userId="11637121-8aee-420b-9db7-54651cb06796" providerId="ADAL" clId="{D346BDBC-FFFB-46A0-8E64-975E5FEF44DF}" dt="2025-06-16T05:55:02.034" v="1591" actId="20577"/>
        <pc:sldMkLst>
          <pc:docMk/>
          <pc:sldMk cId="1307132154" sldId="2147483414"/>
        </pc:sldMkLst>
      </pc:sldChg>
      <pc:sldChg chg="delSp modSp add mod">
        <pc:chgData name="Munarriz Herrador Iñaki" userId="11637121-8aee-420b-9db7-54651cb06796" providerId="ADAL" clId="{D346BDBC-FFFB-46A0-8E64-975E5FEF44DF}" dt="2025-06-17T11:28:46.888" v="1865" actId="20577"/>
        <pc:sldMkLst>
          <pc:docMk/>
          <pc:sldMk cId="17658299" sldId="2147483415"/>
        </pc:sldMkLst>
      </pc:sldChg>
      <pc:sldChg chg="addSp delSp modSp add mod">
        <pc:chgData name="Munarriz Herrador Iñaki" userId="11637121-8aee-420b-9db7-54651cb06796" providerId="ADAL" clId="{D346BDBC-FFFB-46A0-8E64-975E5FEF44DF}" dt="2025-06-17T15:59:30.453" v="2425" actId="1036"/>
        <pc:sldMkLst>
          <pc:docMk/>
          <pc:sldMk cId="2523228152" sldId="2147483416"/>
        </pc:sldMkLst>
      </pc:sldChg>
      <pc:sldChg chg="addSp delSp modSp add mod">
        <pc:chgData name="Munarriz Herrador Iñaki" userId="11637121-8aee-420b-9db7-54651cb06796" providerId="ADAL" clId="{D346BDBC-FFFB-46A0-8E64-975E5FEF44DF}" dt="2025-06-17T15:59:51.871" v="2484" actId="1035"/>
        <pc:sldMkLst>
          <pc:docMk/>
          <pc:sldMk cId="3043515397" sldId="2147483417"/>
        </pc:sldMkLst>
      </pc:sldChg>
    </pc:docChg>
  </pc:docChgLst>
  <pc:docChgLst>
    <pc:chgData name="Munarriz Herrador Iñaki" userId="11637121-8aee-420b-9db7-54651cb06796" providerId="ADAL" clId="{028FF6F6-5B42-4493-A926-90FAA58B796E}"/>
    <pc:docChg chg="undo redo custSel addSld delSld modSld sldOrd modSection">
      <pc:chgData name="Munarriz Herrador Iñaki" userId="11637121-8aee-420b-9db7-54651cb06796" providerId="ADAL" clId="{028FF6F6-5B42-4493-A926-90FAA58B796E}" dt="2025-03-20T14:51:52.641" v="3792"/>
      <pc:docMkLst>
        <pc:docMk/>
      </pc:docMkLst>
      <pc:sldChg chg="modSp mod">
        <pc:chgData name="Munarriz Herrador Iñaki" userId="11637121-8aee-420b-9db7-54651cb06796" providerId="ADAL" clId="{028FF6F6-5B42-4493-A926-90FAA58B796E}" dt="2025-03-19T17:00:12.720" v="35" actId="20577"/>
        <pc:sldMkLst>
          <pc:docMk/>
          <pc:sldMk cId="0" sldId="2147483315"/>
        </pc:sldMkLst>
      </pc:sldChg>
      <pc:sldChg chg="modSp add mod">
        <pc:chgData name="Munarriz Herrador Iñaki" userId="11637121-8aee-420b-9db7-54651cb06796" providerId="ADAL" clId="{028FF6F6-5B42-4493-A926-90FAA58B796E}" dt="2025-03-20T07:59:19.813" v="1936" actId="20577"/>
        <pc:sldMkLst>
          <pc:docMk/>
          <pc:sldMk cId="88093545" sldId="2147483372"/>
        </pc:sldMkLst>
      </pc:sldChg>
      <pc:sldChg chg="addSp delSp modSp mod">
        <pc:chgData name="Munarriz Herrador Iñaki" userId="11637121-8aee-420b-9db7-54651cb06796" providerId="ADAL" clId="{028FF6F6-5B42-4493-A926-90FAA58B796E}" dt="2025-03-20T08:44:57.924" v="3094" actId="20577"/>
        <pc:sldMkLst>
          <pc:docMk/>
          <pc:sldMk cId="1243781170" sldId="2147483373"/>
        </pc:sldMkLst>
      </pc:sldChg>
      <pc:sldChg chg="addSp delSp modSp mod ord">
        <pc:chgData name="Munarriz Herrador Iñaki" userId="11637121-8aee-420b-9db7-54651cb06796" providerId="ADAL" clId="{028FF6F6-5B42-4493-A926-90FAA58B796E}" dt="2025-03-20T09:07:53.148" v="3388" actId="20577"/>
        <pc:sldMkLst>
          <pc:docMk/>
          <pc:sldMk cId="2818866366" sldId="2147483379"/>
        </pc:sldMkLst>
      </pc:sldChg>
      <pc:sldChg chg="delSp modSp mod">
        <pc:chgData name="Munarriz Herrador Iñaki" userId="11637121-8aee-420b-9db7-54651cb06796" providerId="ADAL" clId="{028FF6F6-5B42-4493-A926-90FAA58B796E}" dt="2025-03-19T23:07:26.854" v="1724" actId="255"/>
        <pc:sldMkLst>
          <pc:docMk/>
          <pc:sldMk cId="3033939552" sldId="2147483388"/>
        </pc:sldMkLst>
      </pc:sldChg>
      <pc:sldChg chg="addSp delSp modSp mod ord">
        <pc:chgData name="Munarriz Herrador Iñaki" userId="11637121-8aee-420b-9db7-54651cb06796" providerId="ADAL" clId="{028FF6F6-5B42-4493-A926-90FAA58B796E}" dt="2025-03-20T08:53:30.506" v="3188" actId="478"/>
        <pc:sldMkLst>
          <pc:docMk/>
          <pc:sldMk cId="937404720" sldId="2147483389"/>
        </pc:sldMkLst>
      </pc:sldChg>
      <pc:sldChg chg="ord">
        <pc:chgData name="Munarriz Herrador Iñaki" userId="11637121-8aee-420b-9db7-54651cb06796" providerId="ADAL" clId="{028FF6F6-5B42-4493-A926-90FAA58B796E}" dt="2025-03-19T23:08:14.105" v="1730"/>
        <pc:sldMkLst>
          <pc:docMk/>
          <pc:sldMk cId="538967907" sldId="2147483390"/>
        </pc:sldMkLst>
      </pc:sldChg>
      <pc:sldChg chg="ord">
        <pc:chgData name="Munarriz Herrador Iñaki" userId="11637121-8aee-420b-9db7-54651cb06796" providerId="ADAL" clId="{028FF6F6-5B42-4493-A926-90FAA58B796E}" dt="2025-03-19T23:08:14.105" v="1730"/>
        <pc:sldMkLst>
          <pc:docMk/>
          <pc:sldMk cId="2900280720" sldId="2147483391"/>
        </pc:sldMkLst>
      </pc:sldChg>
      <pc:sldChg chg="del">
        <pc:chgData name="Munarriz Herrador Iñaki" userId="11637121-8aee-420b-9db7-54651cb06796" providerId="ADAL" clId="{028FF6F6-5B42-4493-A926-90FAA58B796E}" dt="2025-03-19T23:08:39.984" v="1731" actId="47"/>
        <pc:sldMkLst>
          <pc:docMk/>
          <pc:sldMk cId="2732855569" sldId="2147483392"/>
        </pc:sldMkLst>
      </pc:sldChg>
      <pc:sldChg chg="del">
        <pc:chgData name="Munarriz Herrador Iñaki" userId="11637121-8aee-420b-9db7-54651cb06796" providerId="ADAL" clId="{028FF6F6-5B42-4493-A926-90FAA58B796E}" dt="2025-03-19T23:07:34.665" v="1725" actId="47"/>
        <pc:sldMkLst>
          <pc:docMk/>
          <pc:sldMk cId="45361350" sldId="2147483393"/>
        </pc:sldMkLst>
      </pc:sldChg>
      <pc:sldChg chg="del">
        <pc:chgData name="Munarriz Herrador Iñaki" userId="11637121-8aee-420b-9db7-54651cb06796" providerId="ADAL" clId="{028FF6F6-5B42-4493-A926-90FAA58B796E}" dt="2025-03-19T23:08:03.754" v="1728" actId="47"/>
        <pc:sldMkLst>
          <pc:docMk/>
          <pc:sldMk cId="2930060632" sldId="2147483394"/>
        </pc:sldMkLst>
      </pc:sldChg>
      <pc:sldChg chg="addSp delSp modSp add mod">
        <pc:chgData name="Munarriz Herrador Iñaki" userId="11637121-8aee-420b-9db7-54651cb06796" providerId="ADAL" clId="{028FF6F6-5B42-4493-A926-90FAA58B796E}" dt="2025-03-20T09:27:43.160" v="3789" actId="1035"/>
        <pc:sldMkLst>
          <pc:docMk/>
          <pc:sldMk cId="2649532606" sldId="2147483395"/>
        </pc:sldMkLst>
      </pc:sldChg>
      <pc:sldChg chg="addSp delSp modSp add del mod">
        <pc:chgData name="Munarriz Herrador Iñaki" userId="11637121-8aee-420b-9db7-54651cb06796" providerId="ADAL" clId="{028FF6F6-5B42-4493-A926-90FAA58B796E}" dt="2025-03-19T23:15:18.249" v="1855" actId="47"/>
        <pc:sldMkLst>
          <pc:docMk/>
          <pc:sldMk cId="40341960" sldId="2147483396"/>
        </pc:sldMkLst>
      </pc:sldChg>
      <pc:sldChg chg="addSp delSp modSp add mod">
        <pc:chgData name="Munarriz Herrador Iñaki" userId="11637121-8aee-420b-9db7-54651cb06796" providerId="ADAL" clId="{028FF6F6-5B42-4493-A926-90FAA58B796E}" dt="2025-03-20T07:59:42.119" v="1947" actId="20577"/>
        <pc:sldMkLst>
          <pc:docMk/>
          <pc:sldMk cId="4055449794" sldId="2147483397"/>
        </pc:sldMkLst>
      </pc:sldChg>
      <pc:sldChg chg="addSp delSp modSp add mod">
        <pc:chgData name="Munarriz Herrador Iñaki" userId="11637121-8aee-420b-9db7-54651cb06796" providerId="ADAL" clId="{028FF6F6-5B42-4493-A926-90FAA58B796E}" dt="2025-03-20T07:59:46.673" v="1950" actId="20577"/>
        <pc:sldMkLst>
          <pc:docMk/>
          <pc:sldMk cId="2877243688" sldId="2147483398"/>
        </pc:sldMkLst>
      </pc:sldChg>
      <pc:sldChg chg="addSp delSp modSp add mod">
        <pc:chgData name="Munarriz Herrador Iñaki" userId="11637121-8aee-420b-9db7-54651cb06796" providerId="ADAL" clId="{028FF6F6-5B42-4493-A926-90FAA58B796E}" dt="2025-03-20T07:59:50.219" v="1953" actId="20577"/>
        <pc:sldMkLst>
          <pc:docMk/>
          <pc:sldMk cId="3820138667" sldId="2147483399"/>
        </pc:sldMkLst>
      </pc:sldChg>
      <pc:sldChg chg="delSp modSp add del mod ord">
        <pc:chgData name="Munarriz Herrador Iñaki" userId="11637121-8aee-420b-9db7-54651cb06796" providerId="ADAL" clId="{028FF6F6-5B42-4493-A926-90FAA58B796E}" dt="2025-03-20T07:57:41.723" v="1869" actId="47"/>
        <pc:sldMkLst>
          <pc:docMk/>
          <pc:sldMk cId="202366616" sldId="2147483400"/>
        </pc:sldMkLst>
      </pc:sldChg>
      <pc:sldChg chg="add del">
        <pc:chgData name="Munarriz Herrador Iñaki" userId="11637121-8aee-420b-9db7-54651cb06796" providerId="ADAL" clId="{028FF6F6-5B42-4493-A926-90FAA58B796E}" dt="2025-03-20T09:03:08.490" v="3293" actId="47"/>
        <pc:sldMkLst>
          <pc:docMk/>
          <pc:sldMk cId="3151205359" sldId="2147483400"/>
        </pc:sldMkLst>
      </pc:sldChg>
      <pc:sldChg chg="add ord">
        <pc:chgData name="Munarriz Herrador Iñaki" userId="11637121-8aee-420b-9db7-54651cb06796" providerId="ADAL" clId="{028FF6F6-5B42-4493-A926-90FAA58B796E}" dt="2025-03-20T14:51:52.641" v="3792"/>
        <pc:sldMkLst>
          <pc:docMk/>
          <pc:sldMk cId="3328959841" sldId="2147483400"/>
        </pc:sldMkLst>
      </pc:sldChg>
    </pc:docChg>
  </pc:docChgLst>
  <pc:docChgLst>
    <pc:chgData name="Munarriz Herrador Iñaki" userId="11637121-8aee-420b-9db7-54651cb06796" providerId="ADAL" clId="{3350B887-55C5-4C6D-9AD1-3AB555665C94}"/>
    <pc:docChg chg="custSel addSld modSld modSection">
      <pc:chgData name="Munarriz Herrador Iñaki" userId="11637121-8aee-420b-9db7-54651cb06796" providerId="ADAL" clId="{3350B887-55C5-4C6D-9AD1-3AB555665C94}" dt="2025-02-17T16:15:04.320" v="46" actId="14100"/>
      <pc:docMkLst>
        <pc:docMk/>
      </pc:docMkLst>
      <pc:sldChg chg="modSp mod">
        <pc:chgData name="Munarriz Herrador Iñaki" userId="11637121-8aee-420b-9db7-54651cb06796" providerId="ADAL" clId="{3350B887-55C5-4C6D-9AD1-3AB555665C94}" dt="2025-02-17T12:01:58.688" v="39" actId="20577"/>
        <pc:sldMkLst>
          <pc:docMk/>
          <pc:sldMk cId="0" sldId="2147483315"/>
        </pc:sldMkLst>
      </pc:sldChg>
      <pc:sldChg chg="addSp delSp modSp add mod">
        <pc:chgData name="Munarriz Herrador Iñaki" userId="11637121-8aee-420b-9db7-54651cb06796" providerId="ADAL" clId="{3350B887-55C5-4C6D-9AD1-3AB555665C94}" dt="2025-02-17T16:15:04.320" v="46" actId="14100"/>
        <pc:sldMkLst>
          <pc:docMk/>
          <pc:sldMk cId="3033939552" sldId="2147483388"/>
        </pc:sldMkLst>
      </pc:sldChg>
    </pc:docChg>
  </pc:docChgLst>
  <pc:docChgLst>
    <pc:chgData name="Munarriz Herrador Iñaki" userId="11637121-8aee-420b-9db7-54651cb06796" providerId="ADAL" clId="{00D70542-70E1-4C27-9556-C3FD05DC72C1}"/>
    <pc:docChg chg="undo redo custSel addSld delSld modSld sldOrd modSection">
      <pc:chgData name="Munarriz Herrador Iñaki" userId="11637121-8aee-420b-9db7-54651cb06796" providerId="ADAL" clId="{00D70542-70E1-4C27-9556-C3FD05DC72C1}" dt="2025-09-08T16:28:25.365" v="2274" actId="113"/>
      <pc:docMkLst>
        <pc:docMk/>
      </pc:docMkLst>
      <pc:sldChg chg="modSp mod">
        <pc:chgData name="Munarriz Herrador Iñaki" userId="11637121-8aee-420b-9db7-54651cb06796" providerId="ADAL" clId="{00D70542-70E1-4C27-9556-C3FD05DC72C1}" dt="2025-09-05T09:40:28.623" v="1627" actId="790"/>
        <pc:sldMkLst>
          <pc:docMk/>
          <pc:sldMk cId="0" sldId="2147483315"/>
        </pc:sldMkLst>
        <pc:spChg chg="mod">
          <ac:chgData name="Munarriz Herrador Iñaki" userId="11637121-8aee-420b-9db7-54651cb06796" providerId="ADAL" clId="{00D70542-70E1-4C27-9556-C3FD05DC72C1}" dt="2025-09-05T09:40:28.623" v="1627" actId="790"/>
          <ac:spMkLst>
            <pc:docMk/>
            <pc:sldMk cId="0" sldId="2147483315"/>
            <ac:spMk id="6" creationId="{00000000-0000-0000-0000-000000000000}"/>
          </ac:spMkLst>
        </pc:spChg>
      </pc:sldChg>
      <pc:sldChg chg="modSp mod">
        <pc:chgData name="Munarriz Herrador Iñaki" userId="11637121-8aee-420b-9db7-54651cb06796" providerId="ADAL" clId="{00D70542-70E1-4C27-9556-C3FD05DC72C1}" dt="2025-09-08T16:05:14.093" v="2122" actId="20577"/>
        <pc:sldMkLst>
          <pc:docMk/>
          <pc:sldMk cId="88093545" sldId="2147483372"/>
        </pc:sldMkLst>
        <pc:spChg chg="mod">
          <ac:chgData name="Munarriz Herrador Iñaki" userId="11637121-8aee-420b-9db7-54651cb06796" providerId="ADAL" clId="{00D70542-70E1-4C27-9556-C3FD05DC72C1}" dt="2025-09-08T16:05:14.093" v="2122" actId="20577"/>
          <ac:spMkLst>
            <pc:docMk/>
            <pc:sldMk cId="88093545" sldId="2147483372"/>
            <ac:spMk id="8" creationId="{B653FEEB-5B1B-5220-1426-D789485673FE}"/>
          </ac:spMkLst>
        </pc:spChg>
      </pc:sldChg>
      <pc:sldChg chg="addSp delSp modSp mod">
        <pc:chgData name="Munarriz Herrador Iñaki" userId="11637121-8aee-420b-9db7-54651cb06796" providerId="ADAL" clId="{00D70542-70E1-4C27-9556-C3FD05DC72C1}" dt="2025-09-05T09:29:29.586" v="1237" actId="1036"/>
        <pc:sldMkLst>
          <pc:docMk/>
          <pc:sldMk cId="1243781170" sldId="2147483373"/>
        </pc:sldMkLst>
      </pc:sldChg>
      <pc:sldChg chg="del">
        <pc:chgData name="Munarriz Herrador Iñaki" userId="11637121-8aee-420b-9db7-54651cb06796" providerId="ADAL" clId="{00D70542-70E1-4C27-9556-C3FD05DC72C1}" dt="2025-09-04T16:17:13.950" v="585" actId="47"/>
        <pc:sldMkLst>
          <pc:docMk/>
          <pc:sldMk cId="2085739677" sldId="2147483401"/>
        </pc:sldMkLst>
      </pc:sldChg>
      <pc:sldChg chg="addSp delSp modSp add del mod">
        <pc:chgData name="Munarriz Herrador Iñaki" userId="11637121-8aee-420b-9db7-54651cb06796" providerId="ADAL" clId="{00D70542-70E1-4C27-9556-C3FD05DC72C1}" dt="2025-09-08T14:20:35.790" v="1925" actId="164"/>
        <pc:sldMkLst>
          <pc:docMk/>
          <pc:sldMk cId="2428685999" sldId="2147483409"/>
        </pc:sldMkLst>
      </pc:sldChg>
      <pc:sldChg chg="delSp modSp add del mod">
        <pc:chgData name="Munarriz Herrador Iñaki" userId="11637121-8aee-420b-9db7-54651cb06796" providerId="ADAL" clId="{00D70542-70E1-4C27-9556-C3FD05DC72C1}" dt="2025-09-08T14:24:31.233" v="1971" actId="6549"/>
        <pc:sldMkLst>
          <pc:docMk/>
          <pc:sldMk cId="17658299" sldId="2147483415"/>
        </pc:sldMkLst>
      </pc:sldChg>
      <pc:sldChg chg="addSp modSp add del mod">
        <pc:chgData name="Munarriz Herrador Iñaki" userId="11637121-8aee-420b-9db7-54651cb06796" providerId="ADAL" clId="{00D70542-70E1-4C27-9556-C3FD05DC72C1}" dt="2025-09-08T16:27:18.489" v="2271" actId="20577"/>
        <pc:sldMkLst>
          <pc:docMk/>
          <pc:sldMk cId="2523228152" sldId="2147483416"/>
        </pc:sldMkLst>
      </pc:sldChg>
      <pc:sldChg chg="add del">
        <pc:chgData name="Munarriz Herrador Iñaki" userId="11637121-8aee-420b-9db7-54651cb06796" providerId="ADAL" clId="{00D70542-70E1-4C27-9556-C3FD05DC72C1}" dt="2025-09-08T16:27:35.482" v="2273" actId="47"/>
        <pc:sldMkLst>
          <pc:docMk/>
          <pc:sldMk cId="3043515397" sldId="2147483417"/>
        </pc:sldMkLst>
      </pc:sldChg>
      <pc:sldChg chg="addSp delSp modSp mod ord">
        <pc:chgData name="Munarriz Herrador Iñaki" userId="11637121-8aee-420b-9db7-54651cb06796" providerId="ADAL" clId="{00D70542-70E1-4C27-9556-C3FD05DC72C1}" dt="2025-09-08T14:22:31.001" v="1960" actId="20577"/>
        <pc:sldMkLst>
          <pc:docMk/>
          <pc:sldMk cId="2941204618" sldId="2147483419"/>
        </pc:sldMkLst>
      </pc:sldChg>
      <pc:sldChg chg="addSp delSp modSp mod ord">
        <pc:chgData name="Munarriz Herrador Iñaki" userId="11637121-8aee-420b-9db7-54651cb06796" providerId="ADAL" clId="{00D70542-70E1-4C27-9556-C3FD05DC72C1}" dt="2025-09-08T14:22:35.560" v="1961" actId="6549"/>
        <pc:sldMkLst>
          <pc:docMk/>
          <pc:sldMk cId="2241293320" sldId="2147483420"/>
        </pc:sldMkLst>
      </pc:sldChg>
      <pc:sldChg chg="addSp delSp modSp mod ord">
        <pc:chgData name="Munarriz Herrador Iñaki" userId="11637121-8aee-420b-9db7-54651cb06796" providerId="ADAL" clId="{00D70542-70E1-4C27-9556-C3FD05DC72C1}" dt="2025-09-08T14:22:27.109" v="1959" actId="20577"/>
        <pc:sldMkLst>
          <pc:docMk/>
          <pc:sldMk cId="3338159658" sldId="2147483421"/>
        </pc:sldMkLst>
      </pc:sldChg>
      <pc:sldChg chg="addSp delSp modSp mod ord">
        <pc:chgData name="Munarriz Herrador Iñaki" userId="11637121-8aee-420b-9db7-54651cb06796" providerId="ADAL" clId="{00D70542-70E1-4C27-9556-C3FD05DC72C1}" dt="2025-09-08T14:22:39.406" v="1962" actId="6549"/>
        <pc:sldMkLst>
          <pc:docMk/>
          <pc:sldMk cId="2221249643" sldId="2147483422"/>
        </pc:sldMkLst>
        <pc:spChg chg="mod">
          <ac:chgData name="Munarriz Herrador Iñaki" userId="11637121-8aee-420b-9db7-54651cb06796" providerId="ADAL" clId="{00D70542-70E1-4C27-9556-C3FD05DC72C1}" dt="2025-09-05T09:37:29.672" v="1565" actId="20577"/>
          <ac:spMkLst>
            <pc:docMk/>
            <pc:sldMk cId="2221249643" sldId="2147483422"/>
            <ac:spMk id="2" creationId="{9D2F6C1D-FEDC-702C-5020-F94D872F3968}"/>
          </ac:spMkLst>
        </pc:spChg>
        <pc:spChg chg="mod">
          <ac:chgData name="Munarriz Herrador Iñaki" userId="11637121-8aee-420b-9db7-54651cb06796" providerId="ADAL" clId="{00D70542-70E1-4C27-9556-C3FD05DC72C1}" dt="2025-09-04T15:41:28.066" v="461" actId="20577"/>
          <ac:spMkLst>
            <pc:docMk/>
            <pc:sldMk cId="2221249643" sldId="2147483422"/>
            <ac:spMk id="4" creationId="{D808C393-A724-2032-9DE8-0B1B1BCFE463}"/>
          </ac:spMkLst>
        </pc:spChg>
        <pc:spChg chg="mod">
          <ac:chgData name="Munarriz Herrador Iñaki" userId="11637121-8aee-420b-9db7-54651cb06796" providerId="ADAL" clId="{00D70542-70E1-4C27-9556-C3FD05DC72C1}" dt="2025-09-04T15:44:06.188" v="469" actId="113"/>
          <ac:spMkLst>
            <pc:docMk/>
            <pc:sldMk cId="2221249643" sldId="2147483422"/>
            <ac:spMk id="6" creationId="{646AC361-A9CD-B09B-FD22-3A537C56C047}"/>
          </ac:spMkLst>
        </pc:spChg>
        <pc:spChg chg="mod">
          <ac:chgData name="Munarriz Herrador Iñaki" userId="11637121-8aee-420b-9db7-54651cb06796" providerId="ADAL" clId="{00D70542-70E1-4C27-9556-C3FD05DC72C1}" dt="2025-09-08T14:22:39.406" v="1962" actId="6549"/>
          <ac:spMkLst>
            <pc:docMk/>
            <pc:sldMk cId="2221249643" sldId="2147483422"/>
            <ac:spMk id="7" creationId="{F411F693-FDAB-4FEE-A7CF-AF434D3FE9C7}"/>
          </ac:spMkLst>
        </pc:spChg>
      </pc:sldChg>
      <pc:sldChg chg="addSp delSp modSp mod">
        <pc:chgData name="Munarriz Herrador Iñaki" userId="11637121-8aee-420b-9db7-54651cb06796" providerId="ADAL" clId="{00D70542-70E1-4C27-9556-C3FD05DC72C1}" dt="2025-09-05T09:37:17.971" v="1561" actId="20577"/>
        <pc:sldMkLst>
          <pc:docMk/>
          <pc:sldMk cId="2604043654" sldId="2147483423"/>
        </pc:sldMkLst>
        <pc:spChg chg="mod">
          <ac:chgData name="Munarriz Herrador Iñaki" userId="11637121-8aee-420b-9db7-54651cb06796" providerId="ADAL" clId="{00D70542-70E1-4C27-9556-C3FD05DC72C1}" dt="2025-09-05T09:37:17.971" v="1561" actId="20577"/>
          <ac:spMkLst>
            <pc:docMk/>
            <pc:sldMk cId="2604043654" sldId="2147483423"/>
            <ac:spMk id="2" creationId="{C8035EEC-9AC8-B71D-AB5F-8B13BF6A5FF3}"/>
          </ac:spMkLst>
        </pc:spChg>
        <pc:spChg chg="mod">
          <ac:chgData name="Munarriz Herrador Iñaki" userId="11637121-8aee-420b-9db7-54651cb06796" providerId="ADAL" clId="{00D70542-70E1-4C27-9556-C3FD05DC72C1}" dt="2025-09-04T13:59:58.802" v="35" actId="20577"/>
          <ac:spMkLst>
            <pc:docMk/>
            <pc:sldMk cId="2604043654" sldId="2147483423"/>
            <ac:spMk id="6" creationId="{7F3A3E6B-049F-605D-9A22-A38D364AFB3E}"/>
          </ac:spMkLst>
        </pc:spChg>
        <pc:spChg chg="mod">
          <ac:chgData name="Munarriz Herrador Iñaki" userId="11637121-8aee-420b-9db7-54651cb06796" providerId="ADAL" clId="{00D70542-70E1-4C27-9556-C3FD05DC72C1}" dt="2025-09-04T14:33:25.020" v="280" actId="14100"/>
          <ac:spMkLst>
            <pc:docMk/>
            <pc:sldMk cId="2604043654" sldId="2147483423"/>
            <ac:spMk id="7" creationId="{2C7BA4D6-FEDC-25EB-0371-FF4CD00D153F}"/>
          </ac:spMkLst>
        </pc:spChg>
      </pc:sldChg>
      <pc:sldChg chg="addSp delSp modSp mod">
        <pc:chgData name="Munarriz Herrador Iñaki" userId="11637121-8aee-420b-9db7-54651cb06796" providerId="ADAL" clId="{00D70542-70E1-4C27-9556-C3FD05DC72C1}" dt="2025-09-05T09:39:58.401" v="1622" actId="20577"/>
        <pc:sldMkLst>
          <pc:docMk/>
          <pc:sldMk cId="4052193775" sldId="2147483425"/>
        </pc:sldMkLst>
      </pc:sldChg>
      <pc:sldChg chg="del">
        <pc:chgData name="Munarriz Herrador Iñaki" userId="11637121-8aee-420b-9db7-54651cb06796" providerId="ADAL" clId="{00D70542-70E1-4C27-9556-C3FD05DC72C1}" dt="2025-09-05T07:14:55.227" v="904" actId="47"/>
        <pc:sldMkLst>
          <pc:docMk/>
          <pc:sldMk cId="311068668" sldId="2147483426"/>
        </pc:sldMkLst>
      </pc:sldChg>
      <pc:sldChg chg="del">
        <pc:chgData name="Munarriz Herrador Iñaki" userId="11637121-8aee-420b-9db7-54651cb06796" providerId="ADAL" clId="{00D70542-70E1-4C27-9556-C3FD05DC72C1}" dt="2025-09-05T07:14:55.227" v="904" actId="47"/>
        <pc:sldMkLst>
          <pc:docMk/>
          <pc:sldMk cId="3711774561" sldId="2147483427"/>
        </pc:sldMkLst>
      </pc:sldChg>
      <pc:sldChg chg="del">
        <pc:chgData name="Munarriz Herrador Iñaki" userId="11637121-8aee-420b-9db7-54651cb06796" providerId="ADAL" clId="{00D70542-70E1-4C27-9556-C3FD05DC72C1}" dt="2025-09-05T07:14:55.227" v="904" actId="47"/>
        <pc:sldMkLst>
          <pc:docMk/>
          <pc:sldMk cId="2610362918" sldId="2147483429"/>
        </pc:sldMkLst>
      </pc:sldChg>
      <pc:sldChg chg="del">
        <pc:chgData name="Munarriz Herrador Iñaki" userId="11637121-8aee-420b-9db7-54651cb06796" providerId="ADAL" clId="{00D70542-70E1-4C27-9556-C3FD05DC72C1}" dt="2025-09-05T07:14:55.227" v="904" actId="47"/>
        <pc:sldMkLst>
          <pc:docMk/>
          <pc:sldMk cId="2915422796" sldId="2147483430"/>
        </pc:sldMkLst>
      </pc:sldChg>
      <pc:sldChg chg="del">
        <pc:chgData name="Munarriz Herrador Iñaki" userId="11637121-8aee-420b-9db7-54651cb06796" providerId="ADAL" clId="{00D70542-70E1-4C27-9556-C3FD05DC72C1}" dt="2025-09-05T07:14:55.227" v="904" actId="47"/>
        <pc:sldMkLst>
          <pc:docMk/>
          <pc:sldMk cId="1786951196" sldId="2147483431"/>
        </pc:sldMkLst>
      </pc:sldChg>
      <pc:sldChg chg="addSp delSp modSp add mod">
        <pc:chgData name="Munarriz Herrador Iñaki" userId="11637121-8aee-420b-9db7-54651cb06796" providerId="ADAL" clId="{00D70542-70E1-4C27-9556-C3FD05DC72C1}" dt="2025-09-05T09:39:50.712" v="1621" actId="20577"/>
        <pc:sldMkLst>
          <pc:docMk/>
          <pc:sldMk cId="37755106" sldId="2147483432"/>
        </pc:sldMkLst>
      </pc:sldChg>
      <pc:sldChg chg="addSp delSp modSp add mod ord">
        <pc:chgData name="Munarriz Herrador Iñaki" userId="11637121-8aee-420b-9db7-54651cb06796" providerId="ADAL" clId="{00D70542-70E1-4C27-9556-C3FD05DC72C1}" dt="2025-09-08T14:45:49.675" v="2117" actId="14100"/>
        <pc:sldMkLst>
          <pc:docMk/>
          <pc:sldMk cId="3338946092" sldId="2147483433"/>
        </pc:sldMkLst>
        <pc:spChg chg="mod">
          <ac:chgData name="Munarriz Herrador Iñaki" userId="11637121-8aee-420b-9db7-54651cb06796" providerId="ADAL" clId="{00D70542-70E1-4C27-9556-C3FD05DC72C1}" dt="2025-09-04T14:08:23.762" v="113" actId="20577"/>
          <ac:spMkLst>
            <pc:docMk/>
            <pc:sldMk cId="3338946092" sldId="2147483433"/>
            <ac:spMk id="2" creationId="{5716D71B-17A2-35E9-4D6F-30916BCC0BDB}"/>
          </ac:spMkLst>
        </pc:spChg>
        <pc:spChg chg="mod">
          <ac:chgData name="Munarriz Herrador Iñaki" userId="11637121-8aee-420b-9db7-54651cb06796" providerId="ADAL" clId="{00D70542-70E1-4C27-9556-C3FD05DC72C1}" dt="2025-09-04T14:15:23.025" v="216" actId="1036"/>
          <ac:spMkLst>
            <pc:docMk/>
            <pc:sldMk cId="3338946092" sldId="2147483433"/>
            <ac:spMk id="4" creationId="{EFD6DE82-A963-69FB-384D-545762B104E3}"/>
          </ac:spMkLst>
        </pc:spChg>
        <pc:spChg chg="mod">
          <ac:chgData name="Munarriz Herrador Iñaki" userId="11637121-8aee-420b-9db7-54651cb06796" providerId="ADAL" clId="{00D70542-70E1-4C27-9556-C3FD05DC72C1}" dt="2025-09-04T14:15:30.406" v="217" actId="14100"/>
          <ac:spMkLst>
            <pc:docMk/>
            <pc:sldMk cId="3338946092" sldId="2147483433"/>
            <ac:spMk id="6" creationId="{C2A832E8-EFE9-839F-0564-909B9D205760}"/>
          </ac:spMkLst>
        </pc:spChg>
      </pc:sldChg>
      <pc:sldChg chg="addSp delSp modSp add mod ord">
        <pc:chgData name="Munarriz Herrador Iñaki" userId="11637121-8aee-420b-9db7-54651cb06796" providerId="ADAL" clId="{00D70542-70E1-4C27-9556-C3FD05DC72C1}" dt="2025-09-05T09:39:46.655" v="1620" actId="20577"/>
        <pc:sldMkLst>
          <pc:docMk/>
          <pc:sldMk cId="875686067" sldId="2147483434"/>
        </pc:sldMkLst>
        <pc:spChg chg="mod">
          <ac:chgData name="Munarriz Herrador Iñaki" userId="11637121-8aee-420b-9db7-54651cb06796" providerId="ADAL" clId="{00D70542-70E1-4C27-9556-C3FD05DC72C1}" dt="2025-09-05T09:39:46.655" v="1620" actId="20577"/>
          <ac:spMkLst>
            <pc:docMk/>
            <pc:sldMk cId="875686067" sldId="2147483434"/>
            <ac:spMk id="2" creationId="{EC77E358-348A-9F53-3812-A646AEA1F61D}"/>
          </ac:spMkLst>
        </pc:spChg>
        <pc:spChg chg="mod">
          <ac:chgData name="Munarriz Herrador Iñaki" userId="11637121-8aee-420b-9db7-54651cb06796" providerId="ADAL" clId="{00D70542-70E1-4C27-9556-C3FD05DC72C1}" dt="2025-09-04T14:27:13.009" v="242" actId="113"/>
          <ac:spMkLst>
            <pc:docMk/>
            <pc:sldMk cId="875686067" sldId="2147483434"/>
            <ac:spMk id="6" creationId="{66E190E4-77CF-AFB1-1833-971AB0B8FED1}"/>
          </ac:spMkLst>
        </pc:spChg>
      </pc:sldChg>
      <pc:sldChg chg="addSp delSp modSp add mod">
        <pc:chgData name="Munarriz Herrador Iñaki" userId="11637121-8aee-420b-9db7-54651cb06796" providerId="ADAL" clId="{00D70542-70E1-4C27-9556-C3FD05DC72C1}" dt="2025-09-05T09:40:00.776" v="1623" actId="20577"/>
        <pc:sldMkLst>
          <pc:docMk/>
          <pc:sldMk cId="1357118454" sldId="2147483435"/>
        </pc:sldMkLst>
      </pc:sldChg>
      <pc:sldChg chg="add del">
        <pc:chgData name="Munarriz Herrador Iñaki" userId="11637121-8aee-420b-9db7-54651cb06796" providerId="ADAL" clId="{00D70542-70E1-4C27-9556-C3FD05DC72C1}" dt="2025-09-04T15:25:41.906" v="454" actId="47"/>
        <pc:sldMkLst>
          <pc:docMk/>
          <pc:sldMk cId="4101695970" sldId="2147483435"/>
        </pc:sldMkLst>
      </pc:sldChg>
      <pc:sldChg chg="addSp delSp modSp add mod">
        <pc:chgData name="Munarriz Herrador Iñaki" userId="11637121-8aee-420b-9db7-54651cb06796" providerId="ADAL" clId="{00D70542-70E1-4C27-9556-C3FD05DC72C1}" dt="2025-09-05T09:40:04.402" v="1624" actId="6549"/>
        <pc:sldMkLst>
          <pc:docMk/>
          <pc:sldMk cId="2304589916" sldId="2147483436"/>
        </pc:sldMkLst>
      </pc:sldChg>
      <pc:sldChg chg="addSp delSp modSp add mod">
        <pc:chgData name="Munarriz Herrador Iñaki" userId="11637121-8aee-420b-9db7-54651cb06796" providerId="ADAL" clId="{00D70542-70E1-4C27-9556-C3FD05DC72C1}" dt="2025-09-05T09:40:08.430" v="1625" actId="6549"/>
        <pc:sldMkLst>
          <pc:docMk/>
          <pc:sldMk cId="1464428927" sldId="2147483437"/>
        </pc:sldMkLst>
      </pc:sldChg>
      <pc:sldChg chg="modSp add del mod">
        <pc:chgData name="Munarriz Herrador Iñaki" userId="11637121-8aee-420b-9db7-54651cb06796" providerId="ADAL" clId="{00D70542-70E1-4C27-9556-C3FD05DC72C1}" dt="2025-09-05T09:37:34.327" v="1566" actId="47"/>
        <pc:sldMkLst>
          <pc:docMk/>
          <pc:sldMk cId="172182327" sldId="2147483438"/>
        </pc:sldMkLst>
      </pc:sldChg>
      <pc:sldChg chg="add del">
        <pc:chgData name="Munarriz Herrador Iñaki" userId="11637121-8aee-420b-9db7-54651cb06796" providerId="ADAL" clId="{00D70542-70E1-4C27-9556-C3FD05DC72C1}" dt="2025-09-05T09:13:10.018" v="1017" actId="47"/>
        <pc:sldMkLst>
          <pc:docMk/>
          <pc:sldMk cId="1371904559" sldId="2147483438"/>
        </pc:sldMkLst>
      </pc:sldChg>
      <pc:sldChg chg="addSp delSp modSp add mod">
        <pc:chgData name="Munarriz Herrador Iñaki" userId="11637121-8aee-420b-9db7-54651cb06796" providerId="ADAL" clId="{00D70542-70E1-4C27-9556-C3FD05DC72C1}" dt="2025-09-05T09:38:33.370" v="1616" actId="1038"/>
        <pc:sldMkLst>
          <pc:docMk/>
          <pc:sldMk cId="4268494378" sldId="2147483439"/>
        </pc:sldMkLst>
      </pc:sldChg>
      <pc:sldChg chg="addSp delSp modSp add mod">
        <pc:chgData name="Munarriz Herrador Iñaki" userId="11637121-8aee-420b-9db7-54651cb06796" providerId="ADAL" clId="{00D70542-70E1-4C27-9556-C3FD05DC72C1}" dt="2025-09-08T14:19:58.714" v="1918" actId="1076"/>
        <pc:sldMkLst>
          <pc:docMk/>
          <pc:sldMk cId="426819747" sldId="2147483440"/>
        </pc:sldMkLst>
      </pc:sldChg>
      <pc:sldChg chg="delSp modSp add mod">
        <pc:chgData name="Munarriz Herrador Iñaki" userId="11637121-8aee-420b-9db7-54651cb06796" providerId="ADAL" clId="{00D70542-70E1-4C27-9556-C3FD05DC72C1}" dt="2025-09-08T14:20:08.634" v="1919" actId="732"/>
        <pc:sldMkLst>
          <pc:docMk/>
          <pc:sldMk cId="441788582" sldId="2147483441"/>
        </pc:sldMkLst>
      </pc:sldChg>
      <pc:sldChg chg="addSp delSp modSp add mod">
        <pc:chgData name="Munarriz Herrador Iñaki" userId="11637121-8aee-420b-9db7-54651cb06796" providerId="ADAL" clId="{00D70542-70E1-4C27-9556-C3FD05DC72C1}" dt="2025-09-08T14:37:17.690" v="2115" actId="115"/>
        <pc:sldMkLst>
          <pc:docMk/>
          <pc:sldMk cId="1596710086" sldId="2147483442"/>
        </pc:sldMkLst>
      </pc:sldChg>
      <pc:sldChg chg="modSp add mod">
        <pc:chgData name="Munarriz Herrador Iñaki" userId="11637121-8aee-420b-9db7-54651cb06796" providerId="ADAL" clId="{00D70542-70E1-4C27-9556-C3FD05DC72C1}" dt="2025-09-08T16:28:25.365" v="2274" actId="113"/>
        <pc:sldMkLst>
          <pc:docMk/>
          <pc:sldMk cId="1807183687" sldId="2147483443"/>
        </pc:sldMkLst>
      </pc:sldChg>
    </pc:docChg>
  </pc:docChgLst>
  <pc:docChgLst>
    <pc:chgData name="Munarriz Herrador Iñaki" userId="11637121-8aee-420b-9db7-54651cb06796" providerId="ADAL" clId="{C050DCA4-94CC-4AE4-AC4D-7DC423C906C0}"/>
    <pc:docChg chg="undo redo custSel addSld delSld modSld sldOrd modSection">
      <pc:chgData name="Munarriz Herrador Iñaki" userId="11637121-8aee-420b-9db7-54651cb06796" providerId="ADAL" clId="{C050DCA4-94CC-4AE4-AC4D-7DC423C906C0}" dt="2025-03-19T10:07:35.318" v="10650" actId="1076"/>
      <pc:docMkLst>
        <pc:docMk/>
      </pc:docMkLst>
      <pc:sldChg chg="modSp mod">
        <pc:chgData name="Munarriz Herrador Iñaki" userId="11637121-8aee-420b-9db7-54651cb06796" providerId="ADAL" clId="{C050DCA4-94CC-4AE4-AC4D-7DC423C906C0}" dt="2025-02-21T11:11:57.009" v="95" actId="20577"/>
        <pc:sldMkLst>
          <pc:docMk/>
          <pc:sldMk cId="0" sldId="2147483315"/>
        </pc:sldMkLst>
      </pc:sldChg>
      <pc:sldChg chg="del">
        <pc:chgData name="Munarriz Herrador Iñaki" userId="11637121-8aee-420b-9db7-54651cb06796" providerId="ADAL" clId="{C050DCA4-94CC-4AE4-AC4D-7DC423C906C0}" dt="2025-02-26T16:30:21.688" v="6965" actId="47"/>
        <pc:sldMkLst>
          <pc:docMk/>
          <pc:sldMk cId="88093545" sldId="2147483372"/>
        </pc:sldMkLst>
      </pc:sldChg>
      <pc:sldChg chg="addSp delSp modSp mod">
        <pc:chgData name="Munarriz Herrador Iñaki" userId="11637121-8aee-420b-9db7-54651cb06796" providerId="ADAL" clId="{C050DCA4-94CC-4AE4-AC4D-7DC423C906C0}" dt="2025-03-19T10:07:35.318" v="10650" actId="1076"/>
        <pc:sldMkLst>
          <pc:docMk/>
          <pc:sldMk cId="1243781170" sldId="2147483373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3267060004" sldId="2147483374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61861682" sldId="2147483375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3116799561" sldId="2147483378"/>
        </pc:sldMkLst>
      </pc:sldChg>
      <pc:sldChg chg="addSp delSp modSp mod ord">
        <pc:chgData name="Munarriz Herrador Iñaki" userId="11637121-8aee-420b-9db7-54651cb06796" providerId="ADAL" clId="{C050DCA4-94CC-4AE4-AC4D-7DC423C906C0}" dt="2025-02-27T16:42:15.002" v="10184" actId="14100"/>
        <pc:sldMkLst>
          <pc:docMk/>
          <pc:sldMk cId="2818866366" sldId="2147483379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2837213026" sldId="2147483380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2100245951" sldId="2147483384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2201393827" sldId="2147483386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1177571145" sldId="2147483387"/>
        </pc:sldMkLst>
      </pc:sldChg>
      <pc:sldChg chg="addSp delSp modSp mod ord">
        <pc:chgData name="Munarriz Herrador Iñaki" userId="11637121-8aee-420b-9db7-54651cb06796" providerId="ADAL" clId="{C050DCA4-94CC-4AE4-AC4D-7DC423C906C0}" dt="2025-02-27T16:53:47.082" v="10556" actId="12789"/>
        <pc:sldMkLst>
          <pc:docMk/>
          <pc:sldMk cId="3033939552" sldId="2147483388"/>
        </pc:sldMkLst>
      </pc:sldChg>
      <pc:sldChg chg="addSp delSp modSp add mod">
        <pc:chgData name="Munarriz Herrador Iñaki" userId="11637121-8aee-420b-9db7-54651cb06796" providerId="ADAL" clId="{C050DCA4-94CC-4AE4-AC4D-7DC423C906C0}" dt="2025-02-27T15:59:41.673" v="9334" actId="123"/>
        <pc:sldMkLst>
          <pc:docMk/>
          <pc:sldMk cId="937404720" sldId="2147483389"/>
        </pc:sldMkLst>
      </pc:sldChg>
      <pc:sldChg chg="addSp delSp modSp add mod ord">
        <pc:chgData name="Munarriz Herrador Iñaki" userId="11637121-8aee-420b-9db7-54651cb06796" providerId="ADAL" clId="{C050DCA4-94CC-4AE4-AC4D-7DC423C906C0}" dt="2025-02-27T15:59:53.024" v="9336" actId="123"/>
        <pc:sldMkLst>
          <pc:docMk/>
          <pc:sldMk cId="538967907" sldId="2147483390"/>
        </pc:sldMkLst>
      </pc:sldChg>
      <pc:sldChg chg="addSp delSp modSp add mod">
        <pc:chgData name="Munarriz Herrador Iñaki" userId="11637121-8aee-420b-9db7-54651cb06796" providerId="ADAL" clId="{C050DCA4-94CC-4AE4-AC4D-7DC423C906C0}" dt="2025-02-27T15:59:45.894" v="9335" actId="123"/>
        <pc:sldMkLst>
          <pc:docMk/>
          <pc:sldMk cId="2900280720" sldId="2147483391"/>
        </pc:sldMkLst>
      </pc:sldChg>
      <pc:sldChg chg="addSp delSp modSp add mod">
        <pc:chgData name="Munarriz Herrador Iñaki" userId="11637121-8aee-420b-9db7-54651cb06796" providerId="ADAL" clId="{C050DCA4-94CC-4AE4-AC4D-7DC423C906C0}" dt="2025-02-27T15:59:32.666" v="9332" actId="123"/>
        <pc:sldMkLst>
          <pc:docMk/>
          <pc:sldMk cId="2732855569" sldId="2147483392"/>
        </pc:sldMkLst>
      </pc:sldChg>
      <pc:sldChg chg="addSp delSp modSp add mod">
        <pc:chgData name="Munarriz Herrador Iñaki" userId="11637121-8aee-420b-9db7-54651cb06796" providerId="ADAL" clId="{C050DCA4-94CC-4AE4-AC4D-7DC423C906C0}" dt="2025-02-27T16:21:15.418" v="9598" actId="1035"/>
        <pc:sldMkLst>
          <pc:docMk/>
          <pc:sldMk cId="45361350" sldId="2147483393"/>
        </pc:sldMkLst>
      </pc:sldChg>
      <pc:sldChg chg="add">
        <pc:chgData name="Munarriz Herrador Iñaki" userId="11637121-8aee-420b-9db7-54651cb06796" providerId="ADAL" clId="{C050DCA4-94CC-4AE4-AC4D-7DC423C906C0}" dt="2025-03-19T10:06:38.905" v="10557" actId="2890"/>
        <pc:sldMkLst>
          <pc:docMk/>
          <pc:sldMk cId="2930060632" sldId="2147483394"/>
        </pc:sldMkLst>
      </pc:sldChg>
      <pc:sldMasterChg chg="delSldLayout">
        <pc:chgData name="Munarriz Herrador Iñaki" userId="11637121-8aee-420b-9db7-54651cb06796" providerId="ADAL" clId="{C050DCA4-94CC-4AE4-AC4D-7DC423C906C0}" dt="2025-02-26T16:30:21.688" v="6965" actId="47"/>
        <pc:sldMasterMkLst>
          <pc:docMk/>
          <pc:sldMasterMk cId="3682351262" sldId="2147483732"/>
        </pc:sldMasterMkLst>
        <pc:sldLayoutChg chg="del">
          <pc:chgData name="Munarriz Herrador Iñaki" userId="11637121-8aee-420b-9db7-54651cb06796" providerId="ADAL" clId="{C050DCA4-94CC-4AE4-AC4D-7DC423C906C0}" dt="2025-02-26T16:30:21.688" v="6965" actId="47"/>
          <pc:sldLayoutMkLst>
            <pc:docMk/>
            <pc:sldMasterMk cId="3682351262" sldId="2147483732"/>
            <pc:sldLayoutMk cId="4212811066" sldId="2147483884"/>
          </pc:sldLayoutMkLst>
        </pc:sldLayoutChg>
      </pc:sldMasterChg>
    </pc:docChg>
  </pc:docChgLst>
  <pc:docChgLst>
    <pc:chgData name="Munarriz Herrador Iñaki" userId="11637121-8aee-420b-9db7-54651cb06796" providerId="ADAL" clId="{9B4054DC-B2B2-4E30-B731-6810BDF5413E}"/>
    <pc:docChg chg="undo custSel addSld delSld modSld sldOrd modSection">
      <pc:chgData name="Munarriz Herrador Iñaki" userId="11637121-8aee-420b-9db7-54651cb06796" providerId="ADAL" clId="{9B4054DC-B2B2-4E30-B731-6810BDF5413E}" dt="2025-09-22T16:28:30.031" v="1635" actId="20577"/>
      <pc:docMkLst>
        <pc:docMk/>
      </pc:docMkLst>
      <pc:sldChg chg="modSp mod">
        <pc:chgData name="Munarriz Herrador Iñaki" userId="11637121-8aee-420b-9db7-54651cb06796" providerId="ADAL" clId="{9B4054DC-B2B2-4E30-B731-6810BDF5413E}" dt="2025-09-22T14:22:38.233" v="1478" actId="20577"/>
        <pc:sldMkLst>
          <pc:docMk/>
          <pc:sldMk cId="0" sldId="2147483315"/>
        </pc:sldMkLst>
        <pc:spChg chg="mod">
          <ac:chgData name="Munarriz Herrador Iñaki" userId="11637121-8aee-420b-9db7-54651cb06796" providerId="ADAL" clId="{9B4054DC-B2B2-4E30-B731-6810BDF5413E}" dt="2025-09-22T14:22:38.233" v="1478" actId="20577"/>
          <ac:spMkLst>
            <pc:docMk/>
            <pc:sldMk cId="0" sldId="2147483315"/>
            <ac:spMk id="6" creationId="{00000000-0000-0000-0000-000000000000}"/>
          </ac:spMkLst>
        </pc:spChg>
      </pc:sldChg>
      <pc:sldChg chg="modSp mod">
        <pc:chgData name="Munarriz Herrador Iñaki" userId="11637121-8aee-420b-9db7-54651cb06796" providerId="ADAL" clId="{9B4054DC-B2B2-4E30-B731-6810BDF5413E}" dt="2025-09-22T15:38:12.482" v="1502" actId="20577"/>
        <pc:sldMkLst>
          <pc:docMk/>
          <pc:sldMk cId="88093545" sldId="2147483372"/>
        </pc:sldMkLst>
        <pc:spChg chg="mod">
          <ac:chgData name="Munarriz Herrador Iñaki" userId="11637121-8aee-420b-9db7-54651cb06796" providerId="ADAL" clId="{9B4054DC-B2B2-4E30-B731-6810BDF5413E}" dt="2025-09-22T15:38:12.482" v="1502" actId="20577"/>
          <ac:spMkLst>
            <pc:docMk/>
            <pc:sldMk cId="88093545" sldId="2147483372"/>
            <ac:spMk id="8" creationId="{B653FEEB-5B1B-5220-1426-D789485673FE}"/>
          </ac:spMkLst>
        </pc:spChg>
      </pc:sldChg>
      <pc:sldChg chg="del">
        <pc:chgData name="Munarriz Herrador Iñaki" userId="11637121-8aee-420b-9db7-54651cb06796" providerId="ADAL" clId="{9B4054DC-B2B2-4E30-B731-6810BDF5413E}" dt="2025-09-22T09:01:02.945" v="1439" actId="47"/>
        <pc:sldMkLst>
          <pc:docMk/>
          <pc:sldMk cId="1243781170" sldId="2147483373"/>
        </pc:sldMkLst>
      </pc:sldChg>
      <pc:sldChg chg="del">
        <pc:chgData name="Munarriz Herrador Iñaki" userId="11637121-8aee-420b-9db7-54651cb06796" providerId="ADAL" clId="{9B4054DC-B2B2-4E30-B731-6810BDF5413E}" dt="2025-09-22T09:01:00.396" v="1438" actId="47"/>
        <pc:sldMkLst>
          <pc:docMk/>
          <pc:sldMk cId="2428685999" sldId="2147483409"/>
        </pc:sldMkLst>
      </pc:sldChg>
      <pc:sldChg chg="del">
        <pc:chgData name="Munarriz Herrador Iñaki" userId="11637121-8aee-420b-9db7-54651cb06796" providerId="ADAL" clId="{9B4054DC-B2B2-4E30-B731-6810BDF5413E}" dt="2025-09-22T09:01:00.396" v="1438" actId="47"/>
        <pc:sldMkLst>
          <pc:docMk/>
          <pc:sldMk cId="17658299" sldId="2147483415"/>
        </pc:sldMkLst>
      </pc:sldChg>
      <pc:sldChg chg="modSp add del mod">
        <pc:chgData name="Munarriz Herrador Iñaki" userId="11637121-8aee-420b-9db7-54651cb06796" providerId="ADAL" clId="{9B4054DC-B2B2-4E30-B731-6810BDF5413E}" dt="2025-09-22T16:28:30.031" v="1635" actId="20577"/>
        <pc:sldMkLst>
          <pc:docMk/>
          <pc:sldMk cId="2523228152" sldId="2147483416"/>
        </pc:sldMkLst>
        <pc:spChg chg="mod">
          <ac:chgData name="Munarriz Herrador Iñaki" userId="11637121-8aee-420b-9db7-54651cb06796" providerId="ADAL" clId="{9B4054DC-B2B2-4E30-B731-6810BDF5413E}" dt="2025-09-22T16:28:30.031" v="1635" actId="20577"/>
          <ac:spMkLst>
            <pc:docMk/>
            <pc:sldMk cId="2523228152" sldId="2147483416"/>
            <ac:spMk id="2" creationId="{06F95705-6917-1727-A0C6-327AA67DDC36}"/>
          </ac:spMkLst>
        </pc:spChg>
        <pc:spChg chg="mod">
          <ac:chgData name="Munarriz Herrador Iñaki" userId="11637121-8aee-420b-9db7-54651cb06796" providerId="ADAL" clId="{9B4054DC-B2B2-4E30-B731-6810BDF5413E}" dt="2025-09-22T16:28:15.503" v="1631" actId="113"/>
          <ac:spMkLst>
            <pc:docMk/>
            <pc:sldMk cId="2523228152" sldId="2147483416"/>
            <ac:spMk id="6" creationId="{280A4E55-B5B6-7FBE-ABE3-03B386534805}"/>
          </ac:spMkLst>
        </pc:spChg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2941204618" sldId="2147483419"/>
        </pc:sldMkLst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2241293320" sldId="2147483420"/>
        </pc:sldMkLst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3338159658" sldId="2147483421"/>
        </pc:sldMkLst>
      </pc:sldChg>
      <pc:sldChg chg="addSp delSp modSp mod">
        <pc:chgData name="Munarriz Herrador Iñaki" userId="11637121-8aee-420b-9db7-54651cb06796" providerId="ADAL" clId="{9B4054DC-B2B2-4E30-B731-6810BDF5413E}" dt="2025-09-22T09:00:22.553" v="1432" actId="20577"/>
        <pc:sldMkLst>
          <pc:docMk/>
          <pc:sldMk cId="2221249643" sldId="2147483422"/>
        </pc:sldMkLst>
        <pc:spChg chg="mod">
          <ac:chgData name="Munarriz Herrador Iñaki" userId="11637121-8aee-420b-9db7-54651cb06796" providerId="ADAL" clId="{9B4054DC-B2B2-4E30-B731-6810BDF5413E}" dt="2025-09-22T09:00:22.553" v="1432" actId="20577"/>
          <ac:spMkLst>
            <pc:docMk/>
            <pc:sldMk cId="2221249643" sldId="2147483422"/>
            <ac:spMk id="2" creationId="{9D2F6C1D-FEDC-702C-5020-F94D872F3968}"/>
          </ac:spMkLst>
        </pc:spChg>
        <pc:spChg chg="add mod">
          <ac:chgData name="Munarriz Herrador Iñaki" userId="11637121-8aee-420b-9db7-54651cb06796" providerId="ADAL" clId="{9B4054DC-B2B2-4E30-B731-6810BDF5413E}" dt="2025-09-19T14:06:58.968" v="552" actId="1035"/>
          <ac:spMkLst>
            <pc:docMk/>
            <pc:sldMk cId="2221249643" sldId="2147483422"/>
            <ac:spMk id="3" creationId="{6BC3C7B9-0B23-C74C-1A77-415F0518007A}"/>
          </ac:spMkLst>
        </pc:spChg>
        <pc:spChg chg="mod">
          <ac:chgData name="Munarriz Herrador Iñaki" userId="11637121-8aee-420b-9db7-54651cb06796" providerId="ADAL" clId="{9B4054DC-B2B2-4E30-B731-6810BDF5413E}" dt="2025-09-19T14:06:32.032" v="472" actId="1035"/>
          <ac:spMkLst>
            <pc:docMk/>
            <pc:sldMk cId="2221249643" sldId="2147483422"/>
            <ac:spMk id="4" creationId="{D808C393-A724-2032-9DE8-0B1B1BCFE463}"/>
          </ac:spMkLst>
        </pc:spChg>
        <pc:spChg chg="mod">
          <ac:chgData name="Munarriz Herrador Iñaki" userId="11637121-8aee-420b-9db7-54651cb06796" providerId="ADAL" clId="{9B4054DC-B2B2-4E30-B731-6810BDF5413E}" dt="2025-09-19T14:06:17.777" v="429" actId="14100"/>
          <ac:spMkLst>
            <pc:docMk/>
            <pc:sldMk cId="2221249643" sldId="2147483422"/>
            <ac:spMk id="6" creationId="{646AC361-A9CD-B09B-FD22-3A537C56C047}"/>
          </ac:spMkLst>
        </pc:spChg>
        <pc:spChg chg="mod">
          <ac:chgData name="Munarriz Herrador Iñaki" userId="11637121-8aee-420b-9db7-54651cb06796" providerId="ADAL" clId="{9B4054DC-B2B2-4E30-B731-6810BDF5413E}" dt="2025-09-19T14:06:42.206" v="501" actId="1035"/>
          <ac:spMkLst>
            <pc:docMk/>
            <pc:sldMk cId="2221249643" sldId="2147483422"/>
            <ac:spMk id="7" creationId="{F411F693-FDAB-4FEE-A7CF-AF434D3FE9C7}"/>
          </ac:spMkLst>
        </pc:spChg>
        <pc:picChg chg="add mod">
          <ac:chgData name="Munarriz Herrador Iñaki" userId="11637121-8aee-420b-9db7-54651cb06796" providerId="ADAL" clId="{9B4054DC-B2B2-4E30-B731-6810BDF5413E}" dt="2025-09-19T14:02:20.063" v="363" actId="1076"/>
          <ac:picMkLst>
            <pc:docMk/>
            <pc:sldMk cId="2221249643" sldId="2147483422"/>
            <ac:picMk id="2050" creationId="{5FD46D9F-4200-FB3E-70BE-DFF2D2B4360E}"/>
          </ac:picMkLst>
        </pc:picChg>
        <pc:picChg chg="add mod">
          <ac:chgData name="Munarriz Herrador Iñaki" userId="11637121-8aee-420b-9db7-54651cb06796" providerId="ADAL" clId="{9B4054DC-B2B2-4E30-B731-6810BDF5413E}" dt="2025-09-19T14:06:47.757" v="530" actId="1036"/>
          <ac:picMkLst>
            <pc:docMk/>
            <pc:sldMk cId="2221249643" sldId="2147483422"/>
            <ac:picMk id="2052" creationId="{DDCE70D0-9A8E-FE29-FAB4-DC506ACB7C51}"/>
          </ac:picMkLst>
        </pc:picChg>
      </pc:sldChg>
      <pc:sldChg chg="addSp delSp modSp mod">
        <pc:chgData name="Munarriz Herrador Iñaki" userId="11637121-8aee-420b-9db7-54651cb06796" providerId="ADAL" clId="{9B4054DC-B2B2-4E30-B731-6810BDF5413E}" dt="2025-09-22T09:00:19.301" v="1431" actId="20577"/>
        <pc:sldMkLst>
          <pc:docMk/>
          <pc:sldMk cId="2604043654" sldId="2147483423"/>
        </pc:sldMkLst>
        <pc:spChg chg="mod">
          <ac:chgData name="Munarriz Herrador Iñaki" userId="11637121-8aee-420b-9db7-54651cb06796" providerId="ADAL" clId="{9B4054DC-B2B2-4E30-B731-6810BDF5413E}" dt="2025-09-22T09:00:19.301" v="1431" actId="20577"/>
          <ac:spMkLst>
            <pc:docMk/>
            <pc:sldMk cId="2604043654" sldId="2147483423"/>
            <ac:spMk id="2" creationId="{C8035EEC-9AC8-B71D-AB5F-8B13BF6A5FF3}"/>
          </ac:spMkLst>
        </pc:spChg>
        <pc:spChg chg="add mod">
          <ac:chgData name="Munarriz Herrador Iñaki" userId="11637121-8aee-420b-9db7-54651cb06796" providerId="ADAL" clId="{9B4054DC-B2B2-4E30-B731-6810BDF5413E}" dt="2025-09-19T13:54:19.130" v="342" actId="113"/>
          <ac:spMkLst>
            <pc:docMk/>
            <pc:sldMk cId="2604043654" sldId="2147483423"/>
            <ac:spMk id="5" creationId="{E6C849D2-D8DB-D34B-F419-692CCDFCFA12}"/>
          </ac:spMkLst>
        </pc:spChg>
        <pc:spChg chg="mod">
          <ac:chgData name="Munarriz Herrador Iñaki" userId="11637121-8aee-420b-9db7-54651cb06796" providerId="ADAL" clId="{9B4054DC-B2B2-4E30-B731-6810BDF5413E}" dt="2025-09-19T13:53:40.738" v="338" actId="113"/>
          <ac:spMkLst>
            <pc:docMk/>
            <pc:sldMk cId="2604043654" sldId="2147483423"/>
            <ac:spMk id="6" creationId="{7F3A3E6B-049F-605D-9A22-A38D364AFB3E}"/>
          </ac:spMkLst>
        </pc:spChg>
        <pc:spChg chg="mod">
          <ac:chgData name="Munarriz Herrador Iñaki" userId="11637121-8aee-420b-9db7-54651cb06796" providerId="ADAL" clId="{9B4054DC-B2B2-4E30-B731-6810BDF5413E}" dt="2025-09-19T13:51:32.900" v="294" actId="1036"/>
          <ac:spMkLst>
            <pc:docMk/>
            <pc:sldMk cId="2604043654" sldId="2147483423"/>
            <ac:spMk id="7" creationId="{2C7BA4D6-FEDC-25EB-0371-FF4CD00D153F}"/>
          </ac:spMkLst>
        </pc:spChg>
        <pc:picChg chg="add mod">
          <ac:chgData name="Munarriz Herrador Iñaki" userId="11637121-8aee-420b-9db7-54651cb06796" providerId="ADAL" clId="{9B4054DC-B2B2-4E30-B731-6810BDF5413E}" dt="2025-09-19T13:52:22.319" v="305" actId="1076"/>
          <ac:picMkLst>
            <pc:docMk/>
            <pc:sldMk cId="2604043654" sldId="2147483423"/>
            <ac:picMk id="1026" creationId="{5331BC50-1570-C1DE-6C14-C256B9E2C5A6}"/>
          </ac:picMkLst>
        </pc:picChg>
        <pc:picChg chg="add mod">
          <ac:chgData name="Munarriz Herrador Iñaki" userId="11637121-8aee-420b-9db7-54651cb06796" providerId="ADAL" clId="{9B4054DC-B2B2-4E30-B731-6810BDF5413E}" dt="2025-09-19T13:52:24.477" v="306" actId="1076"/>
          <ac:picMkLst>
            <pc:docMk/>
            <pc:sldMk cId="2604043654" sldId="2147483423"/>
            <ac:picMk id="1028" creationId="{B78ABE3C-763F-44BA-991A-3A2484E52270}"/>
          </ac:picMkLst>
        </pc:picChg>
      </pc:sldChg>
      <pc:sldChg chg="delSp modSp del mod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4052193775" sldId="2147483425"/>
        </pc:sldMkLst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37755106" sldId="2147483432"/>
        </pc:sldMkLst>
      </pc:sldChg>
      <pc:sldChg chg="addSp delSp modSp mod">
        <pc:chgData name="Munarriz Herrador Iñaki" userId="11637121-8aee-420b-9db7-54651cb06796" providerId="ADAL" clId="{9B4054DC-B2B2-4E30-B731-6810BDF5413E}" dt="2025-09-22T09:00:15.502" v="1430" actId="20577"/>
        <pc:sldMkLst>
          <pc:docMk/>
          <pc:sldMk cId="3338946092" sldId="2147483433"/>
        </pc:sldMkLst>
        <pc:spChg chg="mod">
          <ac:chgData name="Munarriz Herrador Iñaki" userId="11637121-8aee-420b-9db7-54651cb06796" providerId="ADAL" clId="{9B4054DC-B2B2-4E30-B731-6810BDF5413E}" dt="2025-09-22T09:00:15.502" v="1430" actId="20577"/>
          <ac:spMkLst>
            <pc:docMk/>
            <pc:sldMk cId="3338946092" sldId="2147483433"/>
            <ac:spMk id="2" creationId="{5716D71B-17A2-35E9-4D6F-30916BCC0BDB}"/>
          </ac:spMkLst>
        </pc:spChg>
        <pc:spChg chg="add mod">
          <ac:chgData name="Munarriz Herrador Iñaki" userId="11637121-8aee-420b-9db7-54651cb06796" providerId="ADAL" clId="{9B4054DC-B2B2-4E30-B731-6810BDF5413E}" dt="2025-09-19T14:04:34.020" v="409" actId="1036"/>
          <ac:spMkLst>
            <pc:docMk/>
            <pc:sldMk cId="3338946092" sldId="2147483433"/>
            <ac:spMk id="3" creationId="{E732AC8F-E7E4-D545-F74B-7DC7693E1653}"/>
          </ac:spMkLst>
        </pc:spChg>
        <pc:spChg chg="mod">
          <ac:chgData name="Munarriz Herrador Iñaki" userId="11637121-8aee-420b-9db7-54651cb06796" providerId="ADAL" clId="{9B4054DC-B2B2-4E30-B731-6810BDF5413E}" dt="2025-09-19T14:47:43.737" v="881" actId="20577"/>
          <ac:spMkLst>
            <pc:docMk/>
            <pc:sldMk cId="3338946092" sldId="2147483433"/>
            <ac:spMk id="4" creationId="{EFD6DE82-A963-69FB-384D-545762B104E3}"/>
          </ac:spMkLst>
        </pc:spChg>
        <pc:spChg chg="mod">
          <ac:chgData name="Munarriz Herrador Iñaki" userId="11637121-8aee-420b-9db7-54651cb06796" providerId="ADAL" clId="{9B4054DC-B2B2-4E30-B731-6810BDF5413E}" dt="2025-09-19T14:47:27.853" v="877" actId="20577"/>
          <ac:spMkLst>
            <pc:docMk/>
            <pc:sldMk cId="3338946092" sldId="2147483433"/>
            <ac:spMk id="6" creationId="{C2A832E8-EFE9-839F-0564-909B9D205760}"/>
          </ac:spMkLst>
        </pc:spChg>
        <pc:picChg chg="add mod">
          <ac:chgData name="Munarriz Herrador Iñaki" userId="11637121-8aee-420b-9db7-54651cb06796" providerId="ADAL" clId="{9B4054DC-B2B2-4E30-B731-6810BDF5413E}" dt="2025-09-19T14:03:16.930" v="388" actId="1076"/>
          <ac:picMkLst>
            <pc:docMk/>
            <pc:sldMk cId="3338946092" sldId="2147483433"/>
            <ac:picMk id="1030" creationId="{F251B99D-845C-80DB-CE8D-9A54ABEAE6C6}"/>
          </ac:picMkLst>
        </pc:picChg>
        <pc:picChg chg="add mod">
          <ac:chgData name="Munarriz Herrador Iñaki" userId="11637121-8aee-420b-9db7-54651cb06796" providerId="ADAL" clId="{9B4054DC-B2B2-4E30-B731-6810BDF5413E}" dt="2025-09-19T14:03:14.992" v="387" actId="1076"/>
          <ac:picMkLst>
            <pc:docMk/>
            <pc:sldMk cId="3338946092" sldId="2147483433"/>
            <ac:picMk id="1032" creationId="{3BE4271B-7EF2-7C8A-A1D6-64DD6FA692D0}"/>
          </ac:picMkLst>
        </pc:picChg>
      </pc:sldChg>
      <pc:sldChg chg="addSp delSp modSp mod ord">
        <pc:chgData name="Munarriz Herrador Iñaki" userId="11637121-8aee-420b-9db7-54651cb06796" providerId="ADAL" clId="{9B4054DC-B2B2-4E30-B731-6810BDF5413E}" dt="2025-09-22T09:02:10.352" v="1447" actId="20577"/>
        <pc:sldMkLst>
          <pc:docMk/>
          <pc:sldMk cId="875686067" sldId="2147483434"/>
        </pc:sldMkLst>
        <pc:spChg chg="mod">
          <ac:chgData name="Munarriz Herrador Iñaki" userId="11637121-8aee-420b-9db7-54651cb06796" providerId="ADAL" clId="{9B4054DC-B2B2-4E30-B731-6810BDF5413E}" dt="2025-09-22T09:02:10.352" v="1447" actId="20577"/>
          <ac:spMkLst>
            <pc:docMk/>
            <pc:sldMk cId="875686067" sldId="2147483434"/>
            <ac:spMk id="2" creationId="{EC77E358-348A-9F53-3812-A646AEA1F61D}"/>
          </ac:spMkLst>
        </pc:spChg>
        <pc:spChg chg="add mod">
          <ac:chgData name="Munarriz Herrador Iñaki" userId="11637121-8aee-420b-9db7-54651cb06796" providerId="ADAL" clId="{9B4054DC-B2B2-4E30-B731-6810BDF5413E}" dt="2025-09-19T14:44:26.912" v="816" actId="1036"/>
          <ac:spMkLst>
            <pc:docMk/>
            <pc:sldMk cId="875686067" sldId="2147483434"/>
            <ac:spMk id="3" creationId="{F7E66239-F9D4-659E-1A96-9C38AEF418F2}"/>
          </ac:spMkLst>
        </pc:spChg>
        <pc:spChg chg="add mod">
          <ac:chgData name="Munarriz Herrador Iñaki" userId="11637121-8aee-420b-9db7-54651cb06796" providerId="ADAL" clId="{9B4054DC-B2B2-4E30-B731-6810BDF5413E}" dt="2025-09-19T14:44:26.912" v="816" actId="1036"/>
          <ac:spMkLst>
            <pc:docMk/>
            <pc:sldMk cId="875686067" sldId="2147483434"/>
            <ac:spMk id="5" creationId="{A5B2D6F7-9222-6A29-FC90-09EEE47FF342}"/>
          </ac:spMkLst>
        </pc:spChg>
        <pc:spChg chg="mod">
          <ac:chgData name="Munarriz Herrador Iñaki" userId="11637121-8aee-420b-9db7-54651cb06796" providerId="ADAL" clId="{9B4054DC-B2B2-4E30-B731-6810BDF5413E}" dt="2025-09-19T14:41:59.409" v="710" actId="1035"/>
          <ac:spMkLst>
            <pc:docMk/>
            <pc:sldMk cId="875686067" sldId="2147483434"/>
            <ac:spMk id="6" creationId="{66E190E4-77CF-AFB1-1833-971AB0B8FED1}"/>
          </ac:spMkLst>
        </pc:spChg>
        <pc:spChg chg="add mod">
          <ac:chgData name="Munarriz Herrador Iñaki" userId="11637121-8aee-420b-9db7-54651cb06796" providerId="ADAL" clId="{9B4054DC-B2B2-4E30-B731-6810BDF5413E}" dt="2025-09-19T14:44:26.912" v="816" actId="1036"/>
          <ac:spMkLst>
            <pc:docMk/>
            <pc:sldMk cId="875686067" sldId="2147483434"/>
            <ac:spMk id="8" creationId="{93ABA68B-F559-B469-D499-13F77A47D60C}"/>
          </ac:spMkLst>
        </pc:spChg>
        <pc:spChg chg="add mod">
          <ac:chgData name="Munarriz Herrador Iñaki" userId="11637121-8aee-420b-9db7-54651cb06796" providerId="ADAL" clId="{9B4054DC-B2B2-4E30-B731-6810BDF5413E}" dt="2025-09-19T14:44:26.912" v="816" actId="1036"/>
          <ac:spMkLst>
            <pc:docMk/>
            <pc:sldMk cId="875686067" sldId="2147483434"/>
            <ac:spMk id="9" creationId="{92A49E5C-CF96-4124-0503-66ED328BE5AD}"/>
          </ac:spMkLst>
        </pc:spChg>
        <pc:spChg chg="add mod">
          <ac:chgData name="Munarriz Herrador Iñaki" userId="11637121-8aee-420b-9db7-54651cb06796" providerId="ADAL" clId="{9B4054DC-B2B2-4E30-B731-6810BDF5413E}" dt="2025-09-19T14:44:32.707" v="817" actId="14100"/>
          <ac:spMkLst>
            <pc:docMk/>
            <pc:sldMk cId="875686067" sldId="2147483434"/>
            <ac:spMk id="11" creationId="{67642D40-C80A-6870-BCE8-E82AC288DCBD}"/>
          </ac:spMkLst>
        </pc:spChg>
        <pc:spChg chg="add mod">
          <ac:chgData name="Munarriz Herrador Iñaki" userId="11637121-8aee-420b-9db7-54651cb06796" providerId="ADAL" clId="{9B4054DC-B2B2-4E30-B731-6810BDF5413E}" dt="2025-09-19T14:44:26.912" v="816" actId="1036"/>
          <ac:spMkLst>
            <pc:docMk/>
            <pc:sldMk cId="875686067" sldId="2147483434"/>
            <ac:spMk id="12" creationId="{ADE719A1-526D-D55E-D858-0F7D69191758}"/>
          </ac:spMkLst>
        </pc:spChg>
        <pc:spChg chg="add mod">
          <ac:chgData name="Munarriz Herrador Iñaki" userId="11637121-8aee-420b-9db7-54651cb06796" providerId="ADAL" clId="{9B4054DC-B2B2-4E30-B731-6810BDF5413E}" dt="2025-09-19T14:43:41.113" v="740" actId="1035"/>
          <ac:spMkLst>
            <pc:docMk/>
            <pc:sldMk cId="875686067" sldId="2147483434"/>
            <ac:spMk id="13" creationId="{73A924DB-87EF-66A3-79F5-95736A19D656}"/>
          </ac:spMkLst>
        </pc:spChg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1357118454" sldId="2147483435"/>
        </pc:sldMkLst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2304589916" sldId="2147483436"/>
        </pc:sldMkLst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1464428927" sldId="2147483437"/>
        </pc:sldMkLst>
      </pc:sldChg>
      <pc:sldChg chg="del">
        <pc:chgData name="Munarriz Herrador Iñaki" userId="11637121-8aee-420b-9db7-54651cb06796" providerId="ADAL" clId="{9B4054DC-B2B2-4E30-B731-6810BDF5413E}" dt="2025-09-22T09:01:03.653" v="1440" actId="47"/>
        <pc:sldMkLst>
          <pc:docMk/>
          <pc:sldMk cId="4268494378" sldId="2147483439"/>
        </pc:sldMkLst>
      </pc:sldChg>
      <pc:sldChg chg="del">
        <pc:chgData name="Munarriz Herrador Iñaki" userId="11637121-8aee-420b-9db7-54651cb06796" providerId="ADAL" clId="{9B4054DC-B2B2-4E30-B731-6810BDF5413E}" dt="2025-09-22T09:01:00.396" v="1438" actId="47"/>
        <pc:sldMkLst>
          <pc:docMk/>
          <pc:sldMk cId="426819747" sldId="2147483440"/>
        </pc:sldMkLst>
      </pc:sldChg>
      <pc:sldChg chg="del">
        <pc:chgData name="Munarriz Herrador Iñaki" userId="11637121-8aee-420b-9db7-54651cb06796" providerId="ADAL" clId="{9B4054DC-B2B2-4E30-B731-6810BDF5413E}" dt="2025-09-22T09:01:00.396" v="1438" actId="47"/>
        <pc:sldMkLst>
          <pc:docMk/>
          <pc:sldMk cId="441788582" sldId="2147483441"/>
        </pc:sldMkLst>
      </pc:sldChg>
      <pc:sldChg chg="del">
        <pc:chgData name="Munarriz Herrador Iñaki" userId="11637121-8aee-420b-9db7-54651cb06796" providerId="ADAL" clId="{9B4054DC-B2B2-4E30-B731-6810BDF5413E}" dt="2025-09-22T08:51:22.489" v="1404" actId="47"/>
        <pc:sldMkLst>
          <pc:docMk/>
          <pc:sldMk cId="1596710086" sldId="2147483442"/>
        </pc:sldMkLst>
      </pc:sldChg>
      <pc:sldChg chg="modSp add del mod">
        <pc:chgData name="Munarriz Herrador Iñaki" userId="11637121-8aee-420b-9db7-54651cb06796" providerId="ADAL" clId="{9B4054DC-B2B2-4E30-B731-6810BDF5413E}" dt="2025-09-22T16:28:27.041" v="1633" actId="20577"/>
        <pc:sldMkLst>
          <pc:docMk/>
          <pc:sldMk cId="1807183687" sldId="2147483443"/>
        </pc:sldMkLst>
        <pc:spChg chg="mod">
          <ac:chgData name="Munarriz Herrador Iñaki" userId="11637121-8aee-420b-9db7-54651cb06796" providerId="ADAL" clId="{9B4054DC-B2B2-4E30-B731-6810BDF5413E}" dt="2025-09-22T16:28:27.041" v="1633" actId="20577"/>
          <ac:spMkLst>
            <pc:docMk/>
            <pc:sldMk cId="1807183687" sldId="2147483443"/>
            <ac:spMk id="2" creationId="{4B7B5DC1-1D0F-86F9-38C9-D0D374176BF8}"/>
          </ac:spMkLst>
        </pc:spChg>
        <pc:spChg chg="mod">
          <ac:chgData name="Munarriz Herrador Iñaki" userId="11637121-8aee-420b-9db7-54651cb06796" providerId="ADAL" clId="{9B4054DC-B2B2-4E30-B731-6810BDF5413E}" dt="2025-09-22T16:22:22.920" v="1549" actId="12"/>
          <ac:spMkLst>
            <pc:docMk/>
            <pc:sldMk cId="1807183687" sldId="2147483443"/>
            <ac:spMk id="6" creationId="{40D946A2-1DF1-7FB6-2870-3D1FF6982A53}"/>
          </ac:spMkLst>
        </pc:spChg>
      </pc:sldChg>
      <pc:sldChg chg="addSp modSp add del mod">
        <pc:chgData name="Munarriz Herrador Iñaki" userId="11637121-8aee-420b-9db7-54651cb06796" providerId="ADAL" clId="{9B4054DC-B2B2-4E30-B731-6810BDF5413E}" dt="2025-09-22T08:51:31.819" v="1405" actId="47"/>
        <pc:sldMkLst>
          <pc:docMk/>
          <pc:sldMk cId="3275263586" sldId="2147483444"/>
        </pc:sldMkLst>
        <pc:spChg chg="add mod">
          <ac:chgData name="Munarriz Herrador Iñaki" userId="11637121-8aee-420b-9db7-54651cb06796" providerId="ADAL" clId="{9B4054DC-B2B2-4E30-B731-6810BDF5413E}" dt="2025-09-22T07:42:52.206" v="1151" actId="20577"/>
          <ac:spMkLst>
            <pc:docMk/>
            <pc:sldMk cId="3275263586" sldId="2147483444"/>
            <ac:spMk id="3" creationId="{B02AEBB8-2D21-E914-865C-B15C3ED8D6EE}"/>
          </ac:spMkLst>
        </pc:spChg>
      </pc:sldChg>
      <pc:sldChg chg="addSp delSp modSp add mod ord">
        <pc:chgData name="Munarriz Herrador Iñaki" userId="11637121-8aee-420b-9db7-54651cb06796" providerId="ADAL" clId="{9B4054DC-B2B2-4E30-B731-6810BDF5413E}" dt="2025-09-22T09:01:55.075" v="1443" actId="20577"/>
        <pc:sldMkLst>
          <pc:docMk/>
          <pc:sldMk cId="2217360733" sldId="2147483445"/>
        </pc:sldMkLst>
        <pc:spChg chg="mod">
          <ac:chgData name="Munarriz Herrador Iñaki" userId="11637121-8aee-420b-9db7-54651cb06796" providerId="ADAL" clId="{9B4054DC-B2B2-4E30-B731-6810BDF5413E}" dt="2025-09-22T09:01:55.075" v="1443" actId="20577"/>
          <ac:spMkLst>
            <pc:docMk/>
            <pc:sldMk cId="2217360733" sldId="2147483445"/>
            <ac:spMk id="2" creationId="{DB8BCA22-C6F7-D80E-7252-45595F4CCE29}"/>
          </ac:spMkLst>
        </pc:spChg>
        <pc:spChg chg="del">
          <ac:chgData name="Munarriz Herrador Iñaki" userId="11637121-8aee-420b-9db7-54651cb06796" providerId="ADAL" clId="{9B4054DC-B2B2-4E30-B731-6810BDF5413E}" dt="2025-09-22T07:21:11.940" v="974" actId="478"/>
          <ac:spMkLst>
            <pc:docMk/>
            <pc:sldMk cId="2217360733" sldId="2147483445"/>
            <ac:spMk id="3" creationId="{B1CA42F9-EC01-8A85-1D60-68CD8F4504DD}"/>
          </ac:spMkLst>
        </pc:spChg>
        <pc:spChg chg="del">
          <ac:chgData name="Munarriz Herrador Iñaki" userId="11637121-8aee-420b-9db7-54651cb06796" providerId="ADAL" clId="{9B4054DC-B2B2-4E30-B731-6810BDF5413E}" dt="2025-09-22T07:21:14.623" v="975" actId="478"/>
          <ac:spMkLst>
            <pc:docMk/>
            <pc:sldMk cId="2217360733" sldId="2147483445"/>
            <ac:spMk id="5" creationId="{3F876086-0B7A-B4C4-1352-E9B228FE4E20}"/>
          </ac:spMkLst>
        </pc:spChg>
        <pc:spChg chg="mod">
          <ac:chgData name="Munarriz Herrador Iñaki" userId="11637121-8aee-420b-9db7-54651cb06796" providerId="ADAL" clId="{9B4054DC-B2B2-4E30-B731-6810BDF5413E}" dt="2025-09-22T07:33:12.539" v="1053" actId="20577"/>
          <ac:spMkLst>
            <pc:docMk/>
            <pc:sldMk cId="2217360733" sldId="2147483445"/>
            <ac:spMk id="6" creationId="{AD1CA653-5454-D01A-3A70-1BD41CFE4672}"/>
          </ac:spMkLst>
        </pc:spChg>
        <pc:spChg chg="add del mod">
          <ac:chgData name="Munarriz Herrador Iñaki" userId="11637121-8aee-420b-9db7-54651cb06796" providerId="ADAL" clId="{9B4054DC-B2B2-4E30-B731-6810BDF5413E}" dt="2025-09-22T07:24:25.714" v="984" actId="478"/>
          <ac:spMkLst>
            <pc:docMk/>
            <pc:sldMk cId="2217360733" sldId="2147483445"/>
            <ac:spMk id="7" creationId="{17B0853D-C883-C609-7E99-62851A88438D}"/>
          </ac:spMkLst>
        </pc:spChg>
        <pc:spChg chg="del">
          <ac:chgData name="Munarriz Herrador Iñaki" userId="11637121-8aee-420b-9db7-54651cb06796" providerId="ADAL" clId="{9B4054DC-B2B2-4E30-B731-6810BDF5413E}" dt="2025-09-22T07:21:11.940" v="974" actId="478"/>
          <ac:spMkLst>
            <pc:docMk/>
            <pc:sldMk cId="2217360733" sldId="2147483445"/>
            <ac:spMk id="8" creationId="{E0F0B4D8-4776-7683-D681-6D01E82184E2}"/>
          </ac:spMkLst>
        </pc:spChg>
        <pc:spChg chg="del">
          <ac:chgData name="Munarriz Herrador Iñaki" userId="11637121-8aee-420b-9db7-54651cb06796" providerId="ADAL" clId="{9B4054DC-B2B2-4E30-B731-6810BDF5413E}" dt="2025-09-22T07:21:11.940" v="974" actId="478"/>
          <ac:spMkLst>
            <pc:docMk/>
            <pc:sldMk cId="2217360733" sldId="2147483445"/>
            <ac:spMk id="9" creationId="{BD383F3B-9EFD-26E7-7DAC-BD7F71EE9A28}"/>
          </ac:spMkLst>
        </pc:spChg>
        <pc:spChg chg="del">
          <ac:chgData name="Munarriz Herrador Iñaki" userId="11637121-8aee-420b-9db7-54651cb06796" providerId="ADAL" clId="{9B4054DC-B2B2-4E30-B731-6810BDF5413E}" dt="2025-09-22T07:21:14.623" v="975" actId="478"/>
          <ac:spMkLst>
            <pc:docMk/>
            <pc:sldMk cId="2217360733" sldId="2147483445"/>
            <ac:spMk id="11" creationId="{7E631B12-A1DA-36F6-8E56-A4F38BDF5748}"/>
          </ac:spMkLst>
        </pc:spChg>
        <pc:spChg chg="del">
          <ac:chgData name="Munarriz Herrador Iñaki" userId="11637121-8aee-420b-9db7-54651cb06796" providerId="ADAL" clId="{9B4054DC-B2B2-4E30-B731-6810BDF5413E}" dt="2025-09-22T07:22:10.440" v="976" actId="478"/>
          <ac:spMkLst>
            <pc:docMk/>
            <pc:sldMk cId="2217360733" sldId="2147483445"/>
            <ac:spMk id="12" creationId="{5B29179B-3E70-C4DC-81D1-CB552E59FD7E}"/>
          </ac:spMkLst>
        </pc:spChg>
        <pc:spChg chg="del">
          <ac:chgData name="Munarriz Herrador Iñaki" userId="11637121-8aee-420b-9db7-54651cb06796" providerId="ADAL" clId="{9B4054DC-B2B2-4E30-B731-6810BDF5413E}" dt="2025-09-22T07:22:12.750" v="977" actId="478"/>
          <ac:spMkLst>
            <pc:docMk/>
            <pc:sldMk cId="2217360733" sldId="2147483445"/>
            <ac:spMk id="13" creationId="{88AE5C73-155F-E069-BB87-7190937D2FBD}"/>
          </ac:spMkLst>
        </pc:spChg>
        <pc:spChg chg="add mod">
          <ac:chgData name="Munarriz Herrador Iñaki" userId="11637121-8aee-420b-9db7-54651cb06796" providerId="ADAL" clId="{9B4054DC-B2B2-4E30-B731-6810BDF5413E}" dt="2025-09-22T07:33:32.587" v="1060" actId="14100"/>
          <ac:spMkLst>
            <pc:docMk/>
            <pc:sldMk cId="2217360733" sldId="2147483445"/>
            <ac:spMk id="14" creationId="{5B46D4EB-2842-8186-D86B-99FF012223C6}"/>
          </ac:spMkLst>
        </pc:spChg>
        <pc:spChg chg="add del mod">
          <ac:chgData name="Munarriz Herrador Iñaki" userId="11637121-8aee-420b-9db7-54651cb06796" providerId="ADAL" clId="{9B4054DC-B2B2-4E30-B731-6810BDF5413E}" dt="2025-09-22T07:28:09.918" v="1023" actId="478"/>
          <ac:spMkLst>
            <pc:docMk/>
            <pc:sldMk cId="2217360733" sldId="2147483445"/>
            <ac:spMk id="15" creationId="{31CBB441-9233-00A1-A7E4-71F1AE83E3EA}"/>
          </ac:spMkLst>
        </pc:spChg>
        <pc:spChg chg="add mod">
          <ac:chgData name="Munarriz Herrador Iñaki" userId="11637121-8aee-420b-9db7-54651cb06796" providerId="ADAL" clId="{9B4054DC-B2B2-4E30-B731-6810BDF5413E}" dt="2025-09-22T07:34:38.006" v="1112" actId="14100"/>
          <ac:spMkLst>
            <pc:docMk/>
            <pc:sldMk cId="2217360733" sldId="2147483445"/>
            <ac:spMk id="18" creationId="{81D0DA93-5E6A-AE0A-2BAC-E75957CB8F2B}"/>
          </ac:spMkLst>
        </pc:spChg>
        <pc:spChg chg="add mod">
          <ac:chgData name="Munarriz Herrador Iñaki" userId="11637121-8aee-420b-9db7-54651cb06796" providerId="ADAL" clId="{9B4054DC-B2B2-4E30-B731-6810BDF5413E}" dt="2025-09-22T07:33:46.325" v="1072" actId="1036"/>
          <ac:spMkLst>
            <pc:docMk/>
            <pc:sldMk cId="2217360733" sldId="2147483445"/>
            <ac:spMk id="19" creationId="{E68A2336-7526-F816-BA87-93B739D17579}"/>
          </ac:spMkLst>
        </pc:spChg>
        <pc:picChg chg="add mod">
          <ac:chgData name="Munarriz Herrador Iñaki" userId="11637121-8aee-420b-9db7-54651cb06796" providerId="ADAL" clId="{9B4054DC-B2B2-4E30-B731-6810BDF5413E}" dt="2025-09-22T07:34:05.719" v="1109" actId="1038"/>
          <ac:picMkLst>
            <pc:docMk/>
            <pc:sldMk cId="2217360733" sldId="2147483445"/>
            <ac:picMk id="17" creationId="{04888499-A7F5-B199-6BD6-F29203F3605C}"/>
          </ac:picMkLst>
        </pc:picChg>
      </pc:sldChg>
      <pc:sldChg chg="addSp delSp modSp add mod ord">
        <pc:chgData name="Munarriz Herrador Iñaki" userId="11637121-8aee-420b-9db7-54651cb06796" providerId="ADAL" clId="{9B4054DC-B2B2-4E30-B731-6810BDF5413E}" dt="2025-09-22T09:01:59.446" v="1444" actId="20577"/>
        <pc:sldMkLst>
          <pc:docMk/>
          <pc:sldMk cId="3449193425" sldId="2147483446"/>
        </pc:sldMkLst>
        <pc:spChg chg="mod">
          <ac:chgData name="Munarriz Herrador Iñaki" userId="11637121-8aee-420b-9db7-54651cb06796" providerId="ADAL" clId="{9B4054DC-B2B2-4E30-B731-6810BDF5413E}" dt="2025-09-22T09:01:59.446" v="1444" actId="20577"/>
          <ac:spMkLst>
            <pc:docMk/>
            <pc:sldMk cId="3449193425" sldId="2147483446"/>
            <ac:spMk id="2" creationId="{428D3E94-E914-A38C-9529-5F4F0692C31A}"/>
          </ac:spMkLst>
        </pc:spChg>
        <pc:spChg chg="mod">
          <ac:chgData name="Munarriz Herrador Iñaki" userId="11637121-8aee-420b-9db7-54651cb06796" providerId="ADAL" clId="{9B4054DC-B2B2-4E30-B731-6810BDF5413E}" dt="2025-09-22T07:39:30.619" v="1147" actId="113"/>
          <ac:spMkLst>
            <pc:docMk/>
            <pc:sldMk cId="3449193425" sldId="2147483446"/>
            <ac:spMk id="6" creationId="{3120EEDD-E969-19DB-0092-6DE7916F817D}"/>
          </ac:spMkLst>
        </pc:spChg>
        <pc:spChg chg="mod">
          <ac:chgData name="Munarriz Herrador Iñaki" userId="11637121-8aee-420b-9db7-54651cb06796" providerId="ADAL" clId="{9B4054DC-B2B2-4E30-B731-6810BDF5413E}" dt="2025-09-22T07:38:15.382" v="1145" actId="1036"/>
          <ac:spMkLst>
            <pc:docMk/>
            <pc:sldMk cId="3449193425" sldId="2147483446"/>
            <ac:spMk id="14" creationId="{5D265D40-E36F-F920-FDC8-F5AC243934A6}"/>
          </ac:spMkLst>
        </pc:spChg>
        <pc:spChg chg="mod">
          <ac:chgData name="Munarriz Herrador Iñaki" userId="11637121-8aee-420b-9db7-54651cb06796" providerId="ADAL" clId="{9B4054DC-B2B2-4E30-B731-6810BDF5413E}" dt="2025-09-22T07:41:12.295" v="1150" actId="14100"/>
          <ac:spMkLst>
            <pc:docMk/>
            <pc:sldMk cId="3449193425" sldId="2147483446"/>
            <ac:spMk id="18" creationId="{B4C35B70-212A-FE92-B3DB-E13FD4CBEDF1}"/>
          </ac:spMkLst>
        </pc:spChg>
        <pc:spChg chg="del">
          <ac:chgData name="Munarriz Herrador Iñaki" userId="11637121-8aee-420b-9db7-54651cb06796" providerId="ADAL" clId="{9B4054DC-B2B2-4E30-B731-6810BDF5413E}" dt="2025-09-22T07:36:28.910" v="1122" actId="478"/>
          <ac:spMkLst>
            <pc:docMk/>
            <pc:sldMk cId="3449193425" sldId="2147483446"/>
            <ac:spMk id="19" creationId="{27BEED52-5A03-7437-675C-98C8B3863010}"/>
          </ac:spMkLst>
        </pc:spChg>
        <pc:picChg chg="add mod modCrop">
          <ac:chgData name="Munarriz Herrador Iñaki" userId="11637121-8aee-420b-9db7-54651cb06796" providerId="ADAL" clId="{9B4054DC-B2B2-4E30-B731-6810BDF5413E}" dt="2025-09-22T07:37:52.677" v="1135" actId="732"/>
          <ac:picMkLst>
            <pc:docMk/>
            <pc:sldMk cId="3449193425" sldId="2147483446"/>
            <ac:picMk id="4" creationId="{86E603FD-9D10-B8ED-62C3-F220A299F66C}"/>
          </ac:picMkLst>
        </pc:picChg>
        <pc:picChg chg="del mod">
          <ac:chgData name="Munarriz Herrador Iñaki" userId="11637121-8aee-420b-9db7-54651cb06796" providerId="ADAL" clId="{9B4054DC-B2B2-4E30-B731-6810BDF5413E}" dt="2025-09-22T07:35:25.364" v="1115" actId="478"/>
          <ac:picMkLst>
            <pc:docMk/>
            <pc:sldMk cId="3449193425" sldId="2147483446"/>
            <ac:picMk id="17" creationId="{1E8CCF0D-4256-8DB8-726B-495BB307E791}"/>
          </ac:picMkLst>
        </pc:picChg>
      </pc:sldChg>
      <pc:sldChg chg="addSp delSp modSp add mod">
        <pc:chgData name="Munarriz Herrador Iñaki" userId="11637121-8aee-420b-9db7-54651cb06796" providerId="ADAL" clId="{9B4054DC-B2B2-4E30-B731-6810BDF5413E}" dt="2025-09-22T09:02:03.924" v="1445" actId="20577"/>
        <pc:sldMkLst>
          <pc:docMk/>
          <pc:sldMk cId="1427957117" sldId="2147483447"/>
        </pc:sldMkLst>
        <pc:spChg chg="mod">
          <ac:chgData name="Munarriz Herrador Iñaki" userId="11637121-8aee-420b-9db7-54651cb06796" providerId="ADAL" clId="{9B4054DC-B2B2-4E30-B731-6810BDF5413E}" dt="2025-09-22T09:02:03.924" v="1445" actId="20577"/>
          <ac:spMkLst>
            <pc:docMk/>
            <pc:sldMk cId="1427957117" sldId="2147483447"/>
            <ac:spMk id="2" creationId="{DFA51052-13B1-D140-BD82-37071833DEA4}"/>
          </ac:spMkLst>
        </pc:spChg>
        <pc:spChg chg="del mod">
          <ac:chgData name="Munarriz Herrador Iñaki" userId="11637121-8aee-420b-9db7-54651cb06796" providerId="ADAL" clId="{9B4054DC-B2B2-4E30-B731-6810BDF5413E}" dt="2025-09-22T07:57:57.797" v="1265" actId="478"/>
          <ac:spMkLst>
            <pc:docMk/>
            <pc:sldMk cId="1427957117" sldId="2147483447"/>
            <ac:spMk id="3" creationId="{165FDF60-E301-9178-711E-B07A76967E1C}"/>
          </ac:spMkLst>
        </pc:spChg>
        <pc:spChg chg="del mod">
          <ac:chgData name="Munarriz Herrador Iñaki" userId="11637121-8aee-420b-9db7-54651cb06796" providerId="ADAL" clId="{9B4054DC-B2B2-4E30-B731-6810BDF5413E}" dt="2025-09-22T07:57:57.797" v="1265" actId="478"/>
          <ac:spMkLst>
            <pc:docMk/>
            <pc:sldMk cId="1427957117" sldId="2147483447"/>
            <ac:spMk id="5" creationId="{85570A78-3FC1-D94D-FFD1-6B2FAC3BC568}"/>
          </ac:spMkLst>
        </pc:spChg>
        <pc:spChg chg="mod">
          <ac:chgData name="Munarriz Herrador Iñaki" userId="11637121-8aee-420b-9db7-54651cb06796" providerId="ADAL" clId="{9B4054DC-B2B2-4E30-B731-6810BDF5413E}" dt="2025-09-22T07:53:12.932" v="1221" actId="113"/>
          <ac:spMkLst>
            <pc:docMk/>
            <pc:sldMk cId="1427957117" sldId="2147483447"/>
            <ac:spMk id="6" creationId="{220CC25D-8C1F-5668-0645-7A47DA7A4742}"/>
          </ac:spMkLst>
        </pc:spChg>
        <pc:spChg chg="del">
          <ac:chgData name="Munarriz Herrador Iñaki" userId="11637121-8aee-420b-9db7-54651cb06796" providerId="ADAL" clId="{9B4054DC-B2B2-4E30-B731-6810BDF5413E}" dt="2025-09-22T07:48:15.933" v="1153" actId="478"/>
          <ac:spMkLst>
            <pc:docMk/>
            <pc:sldMk cId="1427957117" sldId="2147483447"/>
            <ac:spMk id="8" creationId="{C6DCE0F7-E4B8-7811-4A25-29BA12238DDA}"/>
          </ac:spMkLst>
        </pc:spChg>
        <pc:spChg chg="del">
          <ac:chgData name="Munarriz Herrador Iñaki" userId="11637121-8aee-420b-9db7-54651cb06796" providerId="ADAL" clId="{9B4054DC-B2B2-4E30-B731-6810BDF5413E}" dt="2025-09-22T07:48:15.933" v="1153" actId="478"/>
          <ac:spMkLst>
            <pc:docMk/>
            <pc:sldMk cId="1427957117" sldId="2147483447"/>
            <ac:spMk id="9" creationId="{0FD4D6A4-9048-5C26-01EF-4E06C682ABF6}"/>
          </ac:spMkLst>
        </pc:spChg>
        <pc:spChg chg="del">
          <ac:chgData name="Munarriz Herrador Iñaki" userId="11637121-8aee-420b-9db7-54651cb06796" providerId="ADAL" clId="{9B4054DC-B2B2-4E30-B731-6810BDF5413E}" dt="2025-09-22T07:48:15.933" v="1153" actId="478"/>
          <ac:spMkLst>
            <pc:docMk/>
            <pc:sldMk cId="1427957117" sldId="2147483447"/>
            <ac:spMk id="11" creationId="{3A0811D3-FC62-86D2-FE67-08522A4D3970}"/>
          </ac:spMkLst>
        </pc:spChg>
        <pc:spChg chg="del">
          <ac:chgData name="Munarriz Herrador Iñaki" userId="11637121-8aee-420b-9db7-54651cb06796" providerId="ADAL" clId="{9B4054DC-B2B2-4E30-B731-6810BDF5413E}" dt="2025-09-22T07:48:15.933" v="1153" actId="478"/>
          <ac:spMkLst>
            <pc:docMk/>
            <pc:sldMk cId="1427957117" sldId="2147483447"/>
            <ac:spMk id="12" creationId="{B910B67E-6C13-FBAB-3CCA-999616F61D22}"/>
          </ac:spMkLst>
        </pc:spChg>
        <pc:spChg chg="del">
          <ac:chgData name="Munarriz Herrador Iñaki" userId="11637121-8aee-420b-9db7-54651cb06796" providerId="ADAL" clId="{9B4054DC-B2B2-4E30-B731-6810BDF5413E}" dt="2025-09-22T07:48:15.933" v="1153" actId="478"/>
          <ac:spMkLst>
            <pc:docMk/>
            <pc:sldMk cId="1427957117" sldId="2147483447"/>
            <ac:spMk id="13" creationId="{FEDCABB9-1C8F-11D9-C08F-950B7DD0283D}"/>
          </ac:spMkLst>
        </pc:spChg>
        <pc:spChg chg="add mod">
          <ac:chgData name="Munarriz Herrador Iñaki" userId="11637121-8aee-420b-9db7-54651cb06796" providerId="ADAL" clId="{9B4054DC-B2B2-4E30-B731-6810BDF5413E}" dt="2025-09-22T07:53:38.346" v="1225" actId="1038"/>
          <ac:spMkLst>
            <pc:docMk/>
            <pc:sldMk cId="1427957117" sldId="2147483447"/>
            <ac:spMk id="14" creationId="{CAD2633C-8AB9-A86E-B0E7-9404477D3BBB}"/>
          </ac:spMkLst>
        </pc:spChg>
        <pc:spChg chg="add mod">
          <ac:chgData name="Munarriz Herrador Iñaki" userId="11637121-8aee-420b-9db7-54651cb06796" providerId="ADAL" clId="{9B4054DC-B2B2-4E30-B731-6810BDF5413E}" dt="2025-09-22T07:57:30.620" v="1262" actId="1076"/>
          <ac:spMkLst>
            <pc:docMk/>
            <pc:sldMk cId="1427957117" sldId="2147483447"/>
            <ac:spMk id="15" creationId="{3BC6A473-B598-A985-4F87-40DAEB550745}"/>
          </ac:spMkLst>
        </pc:spChg>
        <pc:spChg chg="add mod">
          <ac:chgData name="Munarriz Herrador Iñaki" userId="11637121-8aee-420b-9db7-54651cb06796" providerId="ADAL" clId="{9B4054DC-B2B2-4E30-B731-6810BDF5413E}" dt="2025-09-22T07:57:30.620" v="1262" actId="1076"/>
          <ac:spMkLst>
            <pc:docMk/>
            <pc:sldMk cId="1427957117" sldId="2147483447"/>
            <ac:spMk id="16" creationId="{4B375C52-2857-CB89-A58F-041ED00C007D}"/>
          </ac:spMkLst>
        </pc:spChg>
        <pc:spChg chg="add mod">
          <ac:chgData name="Munarriz Herrador Iñaki" userId="11637121-8aee-420b-9db7-54651cb06796" providerId="ADAL" clId="{9B4054DC-B2B2-4E30-B731-6810BDF5413E}" dt="2025-09-22T07:59:04.443" v="1277" actId="12"/>
          <ac:spMkLst>
            <pc:docMk/>
            <pc:sldMk cId="1427957117" sldId="2147483447"/>
            <ac:spMk id="17" creationId="{47DD3AA5-DA41-0D55-1627-E0D2DBD9EA3F}"/>
          </ac:spMkLst>
        </pc:spChg>
        <pc:spChg chg="add mod">
          <ac:chgData name="Munarriz Herrador Iñaki" userId="11637121-8aee-420b-9db7-54651cb06796" providerId="ADAL" clId="{9B4054DC-B2B2-4E30-B731-6810BDF5413E}" dt="2025-09-22T07:58:13.643" v="1269" actId="20577"/>
          <ac:spMkLst>
            <pc:docMk/>
            <pc:sldMk cId="1427957117" sldId="2147483447"/>
            <ac:spMk id="18" creationId="{71EC0E52-D543-67D0-DBF2-FC4560348DA8}"/>
          </ac:spMkLst>
        </pc:spChg>
        <pc:spChg chg="add del">
          <ac:chgData name="Munarriz Herrador Iñaki" userId="11637121-8aee-420b-9db7-54651cb06796" providerId="ADAL" clId="{9B4054DC-B2B2-4E30-B731-6810BDF5413E}" dt="2025-09-22T07:59:28.526" v="1279" actId="478"/>
          <ac:spMkLst>
            <pc:docMk/>
            <pc:sldMk cId="1427957117" sldId="2147483447"/>
            <ac:spMk id="19" creationId="{9BBE3BAD-BDBF-E8D0-E618-7A80039B2468}"/>
          </ac:spMkLst>
        </pc:spChg>
        <pc:spChg chg="add mod">
          <ac:chgData name="Munarriz Herrador Iñaki" userId="11637121-8aee-420b-9db7-54651cb06796" providerId="ADAL" clId="{9B4054DC-B2B2-4E30-B731-6810BDF5413E}" dt="2025-09-22T08:01:18.881" v="1301" actId="1035"/>
          <ac:spMkLst>
            <pc:docMk/>
            <pc:sldMk cId="1427957117" sldId="2147483447"/>
            <ac:spMk id="20" creationId="{D7EAFAEA-927E-888B-432C-E65C0FD40FC4}"/>
          </ac:spMkLst>
        </pc:spChg>
        <pc:picChg chg="add mod">
          <ac:chgData name="Munarriz Herrador Iñaki" userId="11637121-8aee-420b-9db7-54651cb06796" providerId="ADAL" clId="{9B4054DC-B2B2-4E30-B731-6810BDF5413E}" dt="2025-09-22T07:57:23.757" v="1260" actId="1076"/>
          <ac:picMkLst>
            <pc:docMk/>
            <pc:sldMk cId="1427957117" sldId="2147483447"/>
            <ac:picMk id="7" creationId="{11726EE0-7A5B-14FD-7844-9535DBF36E37}"/>
          </ac:picMkLst>
        </pc:picChg>
      </pc:sldChg>
      <pc:sldChg chg="addSp delSp modSp add mod">
        <pc:chgData name="Munarriz Herrador Iñaki" userId="11637121-8aee-420b-9db7-54651cb06796" providerId="ADAL" clId="{9B4054DC-B2B2-4E30-B731-6810BDF5413E}" dt="2025-09-22T09:02:06.958" v="1446" actId="20577"/>
        <pc:sldMkLst>
          <pc:docMk/>
          <pc:sldMk cId="1915438209" sldId="2147483448"/>
        </pc:sldMkLst>
        <pc:spChg chg="mod">
          <ac:chgData name="Munarriz Herrador Iñaki" userId="11637121-8aee-420b-9db7-54651cb06796" providerId="ADAL" clId="{9B4054DC-B2B2-4E30-B731-6810BDF5413E}" dt="2025-09-22T09:02:06.958" v="1446" actId="20577"/>
          <ac:spMkLst>
            <pc:docMk/>
            <pc:sldMk cId="1915438209" sldId="2147483448"/>
            <ac:spMk id="2" creationId="{4E29382A-AD2D-8110-BF84-8E966007341B}"/>
          </ac:spMkLst>
        </pc:spChg>
        <pc:spChg chg="mod">
          <ac:chgData name="Munarriz Herrador Iñaki" userId="11637121-8aee-420b-9db7-54651cb06796" providerId="ADAL" clId="{9B4054DC-B2B2-4E30-B731-6810BDF5413E}" dt="2025-09-22T08:39:16.466" v="1323" actId="113"/>
          <ac:spMkLst>
            <pc:docMk/>
            <pc:sldMk cId="1915438209" sldId="2147483448"/>
            <ac:spMk id="6" creationId="{4D57F906-FEC7-48DD-58D1-BF9A5CD83B9C}"/>
          </ac:spMkLst>
        </pc:spChg>
        <pc:spChg chg="add del mod">
          <ac:chgData name="Munarriz Herrador Iñaki" userId="11637121-8aee-420b-9db7-54651cb06796" providerId="ADAL" clId="{9B4054DC-B2B2-4E30-B731-6810BDF5413E}" dt="2025-09-22T08:51:06.092" v="1403" actId="478"/>
          <ac:spMkLst>
            <pc:docMk/>
            <pc:sldMk cId="1915438209" sldId="2147483448"/>
            <ac:spMk id="8" creationId="{27F47843-4985-4734-DEE9-6F48540A9414}"/>
          </ac:spMkLst>
        </pc:spChg>
        <pc:spChg chg="add mod">
          <ac:chgData name="Munarriz Herrador Iñaki" userId="11637121-8aee-420b-9db7-54651cb06796" providerId="ADAL" clId="{9B4054DC-B2B2-4E30-B731-6810BDF5413E}" dt="2025-09-22T08:51:02.535" v="1401" actId="1076"/>
          <ac:spMkLst>
            <pc:docMk/>
            <pc:sldMk cId="1915438209" sldId="2147483448"/>
            <ac:spMk id="9" creationId="{D44D3F4C-8803-6F40-CECB-CCA2A45A1A7D}"/>
          </ac:spMkLst>
        </pc:spChg>
        <pc:spChg chg="del">
          <ac:chgData name="Munarriz Herrador Iñaki" userId="11637121-8aee-420b-9db7-54651cb06796" providerId="ADAL" clId="{9B4054DC-B2B2-4E30-B731-6810BDF5413E}" dt="2025-09-22T08:39:48.551" v="1324" actId="478"/>
          <ac:spMkLst>
            <pc:docMk/>
            <pc:sldMk cId="1915438209" sldId="2147483448"/>
            <ac:spMk id="14" creationId="{1D954E49-3622-7C2B-00B9-31935B1EC3FF}"/>
          </ac:spMkLst>
        </pc:spChg>
        <pc:spChg chg="del">
          <ac:chgData name="Munarriz Herrador Iñaki" userId="11637121-8aee-420b-9db7-54651cb06796" providerId="ADAL" clId="{9B4054DC-B2B2-4E30-B731-6810BDF5413E}" dt="2025-09-22T08:38:07.875" v="1312" actId="478"/>
          <ac:spMkLst>
            <pc:docMk/>
            <pc:sldMk cId="1915438209" sldId="2147483448"/>
            <ac:spMk id="15" creationId="{244272F8-AB9C-67DE-4D0F-8F14B57E3623}"/>
          </ac:spMkLst>
        </pc:spChg>
        <pc:spChg chg="del">
          <ac:chgData name="Munarriz Herrador Iñaki" userId="11637121-8aee-420b-9db7-54651cb06796" providerId="ADAL" clId="{9B4054DC-B2B2-4E30-B731-6810BDF5413E}" dt="2025-09-22T08:38:12.190" v="1313" actId="478"/>
          <ac:spMkLst>
            <pc:docMk/>
            <pc:sldMk cId="1915438209" sldId="2147483448"/>
            <ac:spMk id="16" creationId="{0671F83A-68EC-F4CE-B6FA-EA0DDBEA5669}"/>
          </ac:spMkLst>
        </pc:spChg>
        <pc:spChg chg="mod">
          <ac:chgData name="Munarriz Herrador Iñaki" userId="11637121-8aee-420b-9db7-54651cb06796" providerId="ADAL" clId="{9B4054DC-B2B2-4E30-B731-6810BDF5413E}" dt="2025-09-22T08:45:54.888" v="1381" actId="1036"/>
          <ac:spMkLst>
            <pc:docMk/>
            <pc:sldMk cId="1915438209" sldId="2147483448"/>
            <ac:spMk id="17" creationId="{637C341F-6ECC-3777-A0E2-5CA699933FD6}"/>
          </ac:spMkLst>
        </pc:spChg>
        <pc:spChg chg="mod">
          <ac:chgData name="Munarriz Herrador Iñaki" userId="11637121-8aee-420b-9db7-54651cb06796" providerId="ADAL" clId="{9B4054DC-B2B2-4E30-B731-6810BDF5413E}" dt="2025-09-22T08:45:51.449" v="1378" actId="1036"/>
          <ac:spMkLst>
            <pc:docMk/>
            <pc:sldMk cId="1915438209" sldId="2147483448"/>
            <ac:spMk id="18" creationId="{59D2A4ED-CD7A-75F3-5D99-6413BC25359B}"/>
          </ac:spMkLst>
        </pc:spChg>
        <pc:spChg chg="mod">
          <ac:chgData name="Munarriz Herrador Iñaki" userId="11637121-8aee-420b-9db7-54651cb06796" providerId="ADAL" clId="{9B4054DC-B2B2-4E30-B731-6810BDF5413E}" dt="2025-09-22T08:45:44.900" v="1374" actId="1035"/>
          <ac:spMkLst>
            <pc:docMk/>
            <pc:sldMk cId="1915438209" sldId="2147483448"/>
            <ac:spMk id="20" creationId="{8FAEDD9B-1EC6-D4E2-83DB-56E8CE4EAB81}"/>
          </ac:spMkLst>
        </pc:spChg>
        <pc:picChg chg="add mod">
          <ac:chgData name="Munarriz Herrador Iñaki" userId="11637121-8aee-420b-9db7-54651cb06796" providerId="ADAL" clId="{9B4054DC-B2B2-4E30-B731-6810BDF5413E}" dt="2025-09-22T08:51:03.939" v="1402" actId="1076"/>
          <ac:picMkLst>
            <pc:docMk/>
            <pc:sldMk cId="1915438209" sldId="2147483448"/>
            <ac:picMk id="4" creationId="{B6C907B9-D4B0-29AD-AAC6-07296A37251C}"/>
          </ac:picMkLst>
        </pc:picChg>
        <pc:picChg chg="del">
          <ac:chgData name="Munarriz Herrador Iñaki" userId="11637121-8aee-420b-9db7-54651cb06796" providerId="ADAL" clId="{9B4054DC-B2B2-4E30-B731-6810BDF5413E}" dt="2025-09-22T08:39:01.680" v="1322" actId="478"/>
          <ac:picMkLst>
            <pc:docMk/>
            <pc:sldMk cId="1915438209" sldId="2147483448"/>
            <ac:picMk id="7" creationId="{922E086F-7719-6CE3-0429-C5FB89B9A262}"/>
          </ac:picMkLst>
        </pc:picChg>
      </pc:sldChg>
      <pc:sldChg chg="addSp delSp modSp add mod ord">
        <pc:chgData name="Munarriz Herrador Iñaki" userId="11637121-8aee-420b-9db7-54651cb06796" providerId="ADAL" clId="{9B4054DC-B2B2-4E30-B731-6810BDF5413E}" dt="2025-09-22T09:00:28.869" v="1433" actId="20577"/>
        <pc:sldMkLst>
          <pc:docMk/>
          <pc:sldMk cId="4057417260" sldId="2147483449"/>
        </pc:sldMkLst>
        <pc:spChg chg="mod">
          <ac:chgData name="Munarriz Herrador Iñaki" userId="11637121-8aee-420b-9db7-54651cb06796" providerId="ADAL" clId="{9B4054DC-B2B2-4E30-B731-6810BDF5413E}" dt="2025-09-22T09:00:28.869" v="1433" actId="20577"/>
          <ac:spMkLst>
            <pc:docMk/>
            <pc:sldMk cId="4057417260" sldId="2147483449"/>
            <ac:spMk id="2" creationId="{1BBDD21C-E118-B41A-0DBA-26CE4408DCD5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3" creationId="{B9728949-7F0C-CD9E-6AB4-F9F5D381D343}"/>
          </ac:spMkLst>
        </pc:spChg>
        <pc:spChg chg="add mod">
          <ac:chgData name="Munarriz Herrador Iñaki" userId="11637121-8aee-420b-9db7-54651cb06796" providerId="ADAL" clId="{9B4054DC-B2B2-4E30-B731-6810BDF5413E}" dt="2025-09-22T08:58:00.425" v="1416"/>
          <ac:spMkLst>
            <pc:docMk/>
            <pc:sldMk cId="4057417260" sldId="2147483449"/>
            <ac:spMk id="4" creationId="{F13CB3F7-D148-FC0F-CC71-CAA00355AC84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5" creationId="{C087F2C0-ECA1-F105-0643-05A80A3F1485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6" creationId="{B3CA07DE-2256-F612-CB14-9B6D20EE349C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8" creationId="{BB665344-39DA-AF12-741F-E5D61099A1D6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9" creationId="{B5C0E19D-49FA-D141-F6C2-45D95290A0DA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11" creationId="{0108AD2D-426B-308D-78C0-B2748186C3BC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12" creationId="{FDEA1D0F-D199-6613-DD58-8A2364C5C008}"/>
          </ac:spMkLst>
        </pc:spChg>
        <pc:spChg chg="del">
          <ac:chgData name="Munarriz Herrador Iñaki" userId="11637121-8aee-420b-9db7-54651cb06796" providerId="ADAL" clId="{9B4054DC-B2B2-4E30-B731-6810BDF5413E}" dt="2025-09-22T08:57:53.222" v="1415" actId="478"/>
          <ac:spMkLst>
            <pc:docMk/>
            <pc:sldMk cId="4057417260" sldId="2147483449"/>
            <ac:spMk id="13" creationId="{2DA8E73C-4E61-8581-0412-97B282B07C50}"/>
          </ac:spMkLst>
        </pc:sp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7" creationId="{39BE3503-12E5-A38E-3EC3-B0F8DD98221F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10" creationId="{C30425E8-D1F0-4FB4-9F43-1E673E6EBB1A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14" creationId="{7EEAE318-5792-FBD9-F535-B534AE92C4E0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15" creationId="{23E3AC81-277B-8647-0DC4-809A0EAB679A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17" creationId="{FEE20A0F-6E1D-4E19-694E-B8CB0465BAD4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18" creationId="{6E515B38-FF98-68A2-77F3-9D69BA89E7F6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20" creationId="{9115CDFC-8A24-5776-A206-47FF2881BC51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21" creationId="{BD3F6D75-F86C-799A-FCC8-2A6255F0D439}"/>
          </ac:picMkLst>
        </pc:picChg>
        <pc:picChg chg="add mod">
          <ac:chgData name="Munarriz Herrador Iñaki" userId="11637121-8aee-420b-9db7-54651cb06796" providerId="ADAL" clId="{9B4054DC-B2B2-4E30-B731-6810BDF5413E}" dt="2025-09-22T08:58:00.425" v="1416"/>
          <ac:picMkLst>
            <pc:docMk/>
            <pc:sldMk cId="4057417260" sldId="2147483449"/>
            <ac:picMk id="24" creationId="{09A50D9B-335B-CADB-1212-CD107F30E048}"/>
          </ac:picMkLst>
        </pc:picChg>
      </pc:sldChg>
      <pc:sldChg chg="addSp delSp modSp add mod">
        <pc:chgData name="Munarriz Herrador Iñaki" userId="11637121-8aee-420b-9db7-54651cb06796" providerId="ADAL" clId="{9B4054DC-B2B2-4E30-B731-6810BDF5413E}" dt="2025-09-22T09:00:32.740" v="1435" actId="20577"/>
        <pc:sldMkLst>
          <pc:docMk/>
          <pc:sldMk cId="3696648361" sldId="2147483450"/>
        </pc:sldMkLst>
        <pc:spChg chg="mod">
          <ac:chgData name="Munarriz Herrador Iñaki" userId="11637121-8aee-420b-9db7-54651cb06796" providerId="ADAL" clId="{9B4054DC-B2B2-4E30-B731-6810BDF5413E}" dt="2025-09-22T09:00:32.740" v="1435" actId="20577"/>
          <ac:spMkLst>
            <pc:docMk/>
            <pc:sldMk cId="3696648361" sldId="2147483450"/>
            <ac:spMk id="2" creationId="{1AC8FB57-D79C-A914-5072-FD1EB144DFAD}"/>
          </ac:spMkLst>
        </pc:spChg>
        <pc:spChg chg="add mod">
          <ac:chgData name="Munarriz Herrador Iñaki" userId="11637121-8aee-420b-9db7-54651cb06796" providerId="ADAL" clId="{9B4054DC-B2B2-4E30-B731-6810BDF5413E}" dt="2025-09-22T08:58:24.496" v="1420"/>
          <ac:spMkLst>
            <pc:docMk/>
            <pc:sldMk cId="3696648361" sldId="2147483450"/>
            <ac:spMk id="3" creationId="{FDE79F57-E8CC-F979-4B44-87D1D51EBCD0}"/>
          </ac:spMkLst>
        </pc:spChg>
        <pc:spChg chg="del">
          <ac:chgData name="Munarriz Herrador Iñaki" userId="11637121-8aee-420b-9db7-54651cb06796" providerId="ADAL" clId="{9B4054DC-B2B2-4E30-B731-6810BDF5413E}" dt="2025-09-22T08:58:20.719" v="1418" actId="478"/>
          <ac:spMkLst>
            <pc:docMk/>
            <pc:sldMk cId="3696648361" sldId="2147483450"/>
            <ac:spMk id="4" creationId="{D773E319-6F76-B9C7-70E5-1FE5075AB504}"/>
          </ac:spMkLst>
        </pc:spChg>
        <pc:picChg chg="add mod">
          <ac:chgData name="Munarriz Herrador Iñaki" userId="11637121-8aee-420b-9db7-54651cb06796" providerId="ADAL" clId="{9B4054DC-B2B2-4E30-B731-6810BDF5413E}" dt="2025-09-22T08:58:24.496" v="1420"/>
          <ac:picMkLst>
            <pc:docMk/>
            <pc:sldMk cId="3696648361" sldId="2147483450"/>
            <ac:picMk id="5" creationId="{41444E58-9A91-6164-4B25-BCAFD9A475A9}"/>
          </ac:picMkLst>
        </pc:picChg>
        <pc:picChg chg="add mod">
          <ac:chgData name="Munarriz Herrador Iñaki" userId="11637121-8aee-420b-9db7-54651cb06796" providerId="ADAL" clId="{9B4054DC-B2B2-4E30-B731-6810BDF5413E}" dt="2025-09-22T08:58:24.496" v="1420"/>
          <ac:picMkLst>
            <pc:docMk/>
            <pc:sldMk cId="3696648361" sldId="2147483450"/>
            <ac:picMk id="6" creationId="{D1880376-EABD-A807-BD10-9205ECB2479A}"/>
          </ac:picMkLst>
        </pc:picChg>
        <pc:picChg chg="del">
          <ac:chgData name="Munarriz Herrador Iñaki" userId="11637121-8aee-420b-9db7-54651cb06796" providerId="ADAL" clId="{9B4054DC-B2B2-4E30-B731-6810BDF5413E}" dt="2025-09-22T08:58:22.357" v="1419" actId="478"/>
          <ac:picMkLst>
            <pc:docMk/>
            <pc:sldMk cId="3696648361" sldId="2147483450"/>
            <ac:picMk id="7" creationId="{F2CD30DE-A777-C621-694F-ED00EEA69794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10" creationId="{84DEC7C1-C256-3D7A-F4CA-81484BA414FC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17" creationId="{B178D2AE-A11B-E3B8-BD86-18E36594048D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19" creationId="{D5FAC30A-D517-788B-0885-DDBEB6522DA9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20" creationId="{87985583-8E29-6CBB-6686-28BFA88211FD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21" creationId="{E803E00F-EFFB-279C-0DF5-A70E036F544E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22" creationId="{1D8C6F11-B92C-5C73-BFF4-AE5C0A942E0B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23" creationId="{EFDCD8E6-0659-B555-F4F7-C79C72A02625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24" creationId="{7E5867BF-2F6C-AFCD-531F-41D724108021}"/>
          </ac:picMkLst>
        </pc:picChg>
        <pc:picChg chg="del">
          <ac:chgData name="Munarriz Herrador Iñaki" userId="11637121-8aee-420b-9db7-54651cb06796" providerId="ADAL" clId="{9B4054DC-B2B2-4E30-B731-6810BDF5413E}" dt="2025-09-22T08:58:20.719" v="1418" actId="478"/>
          <ac:picMkLst>
            <pc:docMk/>
            <pc:sldMk cId="3696648361" sldId="2147483450"/>
            <ac:picMk id="25" creationId="{7E579B7C-830F-5D1D-0CA5-FF5E50B59DA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47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47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D52AEF-820C-47F8-88FF-AC482D41B83D}" type="datetimeFigureOut">
              <a:rPr lang="es-ES" smtClean="0"/>
              <a:t>22/09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31900"/>
            <a:ext cx="5918200" cy="3328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45107"/>
            <a:ext cx="5438140" cy="38823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365255"/>
            <a:ext cx="2945659" cy="4947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365255"/>
            <a:ext cx="2945659" cy="4947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50380B-E120-4098-ACE4-02CF6992DFB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0610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72B97-208B-F954-87E4-EA8810F94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6F4337B-F4BA-DEBC-83CA-1B9E4F9DA9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11EB049-2D16-8484-4F67-6408DCD3A0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6455FE0-F630-6694-D516-FD3F268A2E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009063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6B522D-CF0F-1A1B-A3E7-CE2F47D3A1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DA12378-720C-E206-742B-ADA95AC976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C521114-EFB9-2D44-A5CC-92FFB36E48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40DA7C2-3692-0723-4166-434E123438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01953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A2C5D-21BC-6E80-B03A-CFE908263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4E8DE02-C52D-3C1C-E31B-98CC97A12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F9F910C8-328C-1649-FB7A-6924CE7B0E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96C1DA2-113F-83A0-4DFC-4C6AD16E0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82683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C029F1-DED2-7249-19DD-67D34C78D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357D227-8DE9-4066-F0FD-445CF56BEF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C606424-6FEE-78DB-8E22-3A8A9E5E0A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77C32FD-D635-7B97-B815-4309419FA7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44629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E2DD83-374A-A6AD-E7AB-D8E04B986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CCFF3F0-CE5A-1395-BE71-21F473C5E2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EE432F7-4A03-57F5-08A6-590B2C12FF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FAF7333-23C8-4DF8-FB4F-2E16B86C52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1456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7CD86-8D70-6697-CA5A-60EDDA39F1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BA9D689-63B2-3AF1-710A-CDC591C300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C3A82AB-1DA9-0D3C-BD53-64BC5C9914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1C603E3-D497-3BA1-9EF6-681550767B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70429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A59FF-2111-A6D8-25C3-8905579B3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8E03F81-ECDF-9DB7-F4B0-FCC07CE281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F4A372A5-8FA8-A8ED-D1E5-5365905159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40C84FF-370B-8C8A-7506-CF41A733F2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1123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48EB49-A184-F521-C211-6644B06438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8B332C1-DB4D-83DE-9A80-7FAB24E8FA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E4DE2981-5102-42D4-F6D4-C3561EC648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3025DDD-F3D5-3A71-EA7C-E6D8BB008A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2667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6CE5AA-C6CE-9318-D65B-2DF8E4934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64C59C-2E8C-9DB7-C469-F66195D7F4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79FC461-1234-05EB-BBAE-A7B97CD7CA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7D9143A-6418-D56B-CAD9-5D0D50C27B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99596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D2FD6-957A-8C74-533F-833A384E8F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24621A1-57DD-D5EA-9CE6-72706FB584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E0861FE-C5BB-89C2-D727-A5901924BE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1F7D26F-8779-AAC1-8B77-2E5A9DDF0C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95297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56AF70-41DD-765F-461C-F0E5193481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A2151F2-1BCC-6018-E5A0-1111C76B80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DAFA568-1560-3AE3-939F-EFB95D2E7A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0C8E16F-1726-CCB7-9CC8-8BD4615D57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12687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0F5E3-86C2-06C1-9FD4-EE3C506A4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8932B5C-97EC-9AC9-A690-AAFCE240C1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0CFB633-7D91-BF4F-F94F-977CC1897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D554EC3-E791-9663-D363-72CC06A421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25926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4267E86C-51F4-46D7-B611-7A1D08C94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4675" y="0"/>
            <a:ext cx="8013192" cy="6858000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BB57EE8B-DF98-45CD-B769-4B655A96F751}"/>
              </a:ext>
            </a:extLst>
          </p:cNvPr>
          <p:cNvGrpSpPr/>
          <p:nvPr userDrawn="1"/>
        </p:nvGrpSpPr>
        <p:grpSpPr>
          <a:xfrm>
            <a:off x="-12700" y="0"/>
            <a:ext cx="4864100" cy="6858000"/>
            <a:chOff x="-756458" y="0"/>
            <a:chExt cx="4655357" cy="6858000"/>
          </a:xfrm>
          <a:solidFill>
            <a:srgbClr val="F6F6F6"/>
          </a:solidFill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DD3C2D2D-54E9-48E1-B01F-2B83D2704E76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EDCB4A4F-9F0A-440B-BF78-8F6A92C7AA0F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7" name="Título 1">
            <a:extLst>
              <a:ext uri="{FF2B5EF4-FFF2-40B4-BE49-F238E27FC236}">
                <a16:creationId xmlns:a16="http://schemas.microsoft.com/office/drawing/2014/main" id="{FBDFF754-EDB8-4E81-BCD5-E071387950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736169"/>
            <a:ext cx="3745575" cy="11749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8" name="Subtítulo 2">
            <a:extLst>
              <a:ext uri="{FF2B5EF4-FFF2-40B4-BE49-F238E27FC236}">
                <a16:creationId xmlns:a16="http://schemas.microsoft.com/office/drawing/2014/main" id="{A6D070AE-1992-4212-B9A7-D33AB83D5A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1936315"/>
            <a:ext cx="3759709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3D412860-04C7-46B9-BE93-8051E5FC02A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6050674"/>
            <a:ext cx="2262550" cy="39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054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4941AD11-3321-4750-AD4C-93EA9F742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69" y="875626"/>
            <a:ext cx="6226631" cy="5982374"/>
          </a:xfrm>
          <a:prstGeom prst="rect">
            <a:avLst/>
          </a:prstGeom>
        </p:spPr>
      </p:pic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379A0E88-5C43-43D5-9A31-7B355FD4C632}"/>
              </a:ext>
            </a:extLst>
          </p:cNvPr>
          <p:cNvCxnSpPr>
            <a:cxnSpLocks/>
          </p:cNvCxnSpPr>
          <p:nvPr userDrawn="1"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E756615C-F2F6-4E87-8FE8-9CE4D51C239F}"/>
              </a:ext>
            </a:extLst>
          </p:cNvPr>
          <p:cNvCxnSpPr>
            <a:cxnSpLocks/>
          </p:cNvCxnSpPr>
          <p:nvPr userDrawn="1"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308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61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2BB35CB8-2843-4486-AF30-CC8D6B22DE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5"/>
          <a:stretch/>
        </p:blipFill>
        <p:spPr>
          <a:xfrm>
            <a:off x="-1" y="653143"/>
            <a:ext cx="12191999" cy="6204857"/>
          </a:xfrm>
          <a:prstGeom prst="rect">
            <a:avLst/>
          </a:prstGeom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89E79BD3-ED04-4E11-8162-5388EE3EB4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9" y="1409703"/>
            <a:ext cx="1915027" cy="89388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9386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1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2BB35CB8-2843-4486-AF30-CC8D6B22DE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5"/>
          <a:stretch/>
        </p:blipFill>
        <p:spPr>
          <a:xfrm>
            <a:off x="-1" y="653143"/>
            <a:ext cx="12191999" cy="6204857"/>
          </a:xfrm>
          <a:prstGeom prst="rect">
            <a:avLst/>
          </a:prstGeom>
        </p:spPr>
      </p:pic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EB20E1A8-28A8-4DD8-95F7-3AF0547DBAC0}"/>
              </a:ext>
            </a:extLst>
          </p:cNvPr>
          <p:cNvCxnSpPr>
            <a:cxnSpLocks/>
          </p:cNvCxnSpPr>
          <p:nvPr userDrawn="1"/>
        </p:nvCxnSpPr>
        <p:spPr>
          <a:xfrm>
            <a:off x="2274570" y="260032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033C59A-0EF0-4472-BD1A-A1A51660E922}"/>
              </a:ext>
            </a:extLst>
          </p:cNvPr>
          <p:cNvCxnSpPr>
            <a:cxnSpLocks/>
          </p:cNvCxnSpPr>
          <p:nvPr userDrawn="1"/>
        </p:nvCxnSpPr>
        <p:spPr>
          <a:xfrm>
            <a:off x="6106632" y="214914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25BF70F4-0781-44A8-91C3-F85682BB1C9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969" y="14282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E82900D6-E4AB-494C-AAC5-EC6B37620D3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70719" y="188132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57315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magen digital de una ciudad&#10;&#10;Descripción generada automáticamente">
            <a:extLst>
              <a:ext uri="{FF2B5EF4-FFF2-40B4-BE49-F238E27FC236}">
                <a16:creationId xmlns:a16="http://schemas.microsoft.com/office/drawing/2014/main" id="{4BCEBA49-858A-42E6-84C6-24CD5438A5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53144"/>
            <a:ext cx="12192000" cy="6204856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3CEAE61F-DDB5-4ABF-B102-CA4BBBDB3979}"/>
              </a:ext>
            </a:extLst>
          </p:cNvPr>
          <p:cNvSpPr/>
          <p:nvPr userDrawn="1"/>
        </p:nvSpPr>
        <p:spPr>
          <a:xfrm>
            <a:off x="1" y="653143"/>
            <a:ext cx="12054840" cy="6204857"/>
          </a:xfrm>
          <a:prstGeom prst="rect">
            <a:avLst/>
          </a:prstGeom>
          <a:gradFill flip="none" rotWithShape="1">
            <a:gsLst>
              <a:gs pos="58000">
                <a:schemeClr val="accent1">
                  <a:alpha val="45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9E79BD3-ED04-4E11-8162-5388EE3EB4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9" y="1409703"/>
            <a:ext cx="1881573" cy="89388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4599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magen digital de una ciudad&#10;&#10;Descripción generada automáticamente">
            <a:extLst>
              <a:ext uri="{FF2B5EF4-FFF2-40B4-BE49-F238E27FC236}">
                <a16:creationId xmlns:a16="http://schemas.microsoft.com/office/drawing/2014/main" id="{4BCEBA49-858A-42E6-84C6-24CD5438A5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53144"/>
            <a:ext cx="12192000" cy="6204856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3CEAE61F-DDB5-4ABF-B102-CA4BBBDB3979}"/>
              </a:ext>
            </a:extLst>
          </p:cNvPr>
          <p:cNvSpPr/>
          <p:nvPr userDrawn="1"/>
        </p:nvSpPr>
        <p:spPr>
          <a:xfrm>
            <a:off x="1" y="653143"/>
            <a:ext cx="12054840" cy="6204857"/>
          </a:xfrm>
          <a:prstGeom prst="rect">
            <a:avLst/>
          </a:prstGeom>
          <a:gradFill flip="none" rotWithShape="1">
            <a:gsLst>
              <a:gs pos="58000">
                <a:schemeClr val="accent1">
                  <a:alpha val="45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089E0271-1DC5-46FF-A5C8-07A126914C9F}"/>
              </a:ext>
            </a:extLst>
          </p:cNvPr>
          <p:cNvCxnSpPr>
            <a:cxnSpLocks/>
          </p:cNvCxnSpPr>
          <p:nvPr userDrawn="1"/>
        </p:nvCxnSpPr>
        <p:spPr>
          <a:xfrm>
            <a:off x="2274570" y="414972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0DF1C767-A900-4681-ABA3-69A761A66323}"/>
              </a:ext>
            </a:extLst>
          </p:cNvPr>
          <p:cNvCxnSpPr>
            <a:cxnSpLocks/>
          </p:cNvCxnSpPr>
          <p:nvPr userDrawn="1"/>
        </p:nvCxnSpPr>
        <p:spPr>
          <a:xfrm>
            <a:off x="6106632" y="369854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031D0E45-B2D2-49E2-A9BA-7B97F1F496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969" y="29776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DCA016D0-3D0E-4F0F-AF8A-E490F196E15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70719" y="343072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4992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añadir el título</a:t>
            </a:r>
          </a:p>
        </p:txBody>
      </p:sp>
      <p:pic>
        <p:nvPicPr>
          <p:cNvPr id="6" name="Imagen 5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B329B0B3-F50C-4F37-81EB-EADF1926A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144"/>
            <a:ext cx="12191999" cy="6204856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A8698D3F-0FC7-4C98-9D9B-AE90BA8B1C44}"/>
              </a:ext>
            </a:extLst>
          </p:cNvPr>
          <p:cNvSpPr/>
          <p:nvPr userDrawn="1"/>
        </p:nvSpPr>
        <p:spPr>
          <a:xfrm>
            <a:off x="-1" y="653144"/>
            <a:ext cx="11978641" cy="6204856"/>
          </a:xfrm>
          <a:prstGeom prst="rect">
            <a:avLst/>
          </a:prstGeom>
          <a:gradFill flip="none" rotWithShape="1">
            <a:gsLst>
              <a:gs pos="54000">
                <a:schemeClr val="accent1">
                  <a:alpha val="36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95C17B94-B74F-4A90-82A5-28ED96009B8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23862" y="2522346"/>
            <a:ext cx="1739475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6C91F74-2137-4971-AF7A-BC83AE1C7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3" y="1471142"/>
            <a:ext cx="2015389" cy="1051204"/>
          </a:xfrm>
          <a:prstGeom prst="rect">
            <a:avLst/>
          </a:prstGeom>
        </p:spPr>
        <p:txBody>
          <a:bodyPr/>
          <a:lstStyle>
            <a:lvl1pPr marL="0"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3200" kern="1200" dirty="0">
                <a:solidFill>
                  <a:schemeClr val="bg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05467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B329B0B3-F50C-4F37-81EB-EADF1926A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144"/>
            <a:ext cx="12191999" cy="6204856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A8698D3F-0FC7-4C98-9D9B-AE90BA8B1C44}"/>
              </a:ext>
            </a:extLst>
          </p:cNvPr>
          <p:cNvSpPr/>
          <p:nvPr userDrawn="1"/>
        </p:nvSpPr>
        <p:spPr>
          <a:xfrm>
            <a:off x="-1" y="653144"/>
            <a:ext cx="11978641" cy="6204856"/>
          </a:xfrm>
          <a:prstGeom prst="rect">
            <a:avLst/>
          </a:prstGeom>
          <a:gradFill flip="none" rotWithShape="1">
            <a:gsLst>
              <a:gs pos="54000">
                <a:schemeClr val="accent1">
                  <a:alpha val="36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C09614A-53B9-4A61-84A7-859FB3707A5A}"/>
              </a:ext>
            </a:extLst>
          </p:cNvPr>
          <p:cNvCxnSpPr>
            <a:cxnSpLocks/>
          </p:cNvCxnSpPr>
          <p:nvPr userDrawn="1"/>
        </p:nvCxnSpPr>
        <p:spPr>
          <a:xfrm>
            <a:off x="2274570" y="383476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2E13198-EF88-4783-926A-8BB8AE962ED5}"/>
              </a:ext>
            </a:extLst>
          </p:cNvPr>
          <p:cNvCxnSpPr>
            <a:cxnSpLocks/>
          </p:cNvCxnSpPr>
          <p:nvPr userDrawn="1"/>
        </p:nvCxnSpPr>
        <p:spPr>
          <a:xfrm>
            <a:off x="6106632" y="338358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2E8BE9B3-F3A3-4B21-AE5B-F5319D210B1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98969" y="266270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770A02B3-CD47-404C-BBA0-BA4E67E4CD1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70719" y="31157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077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62B4307D-F1C4-4A63-8C46-893B38B31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5" y="637806"/>
            <a:ext cx="12182476" cy="6220193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B5CF344C-345E-4944-96EE-FB3C28602850}"/>
              </a:ext>
            </a:extLst>
          </p:cNvPr>
          <p:cNvSpPr/>
          <p:nvPr userDrawn="1"/>
        </p:nvSpPr>
        <p:spPr>
          <a:xfrm>
            <a:off x="-1" y="637806"/>
            <a:ext cx="11978641" cy="6220194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71000"/>
                </a:schemeClr>
              </a:gs>
              <a:gs pos="4400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9E79BD3-ED04-4E11-8162-5388EE3EB4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9" y="1409703"/>
            <a:ext cx="1836968" cy="89388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8234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5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62B4307D-F1C4-4A63-8C46-893B38B31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5" y="637806"/>
            <a:ext cx="12182476" cy="6220193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B5CF344C-345E-4944-96EE-FB3C28602850}"/>
              </a:ext>
            </a:extLst>
          </p:cNvPr>
          <p:cNvSpPr/>
          <p:nvPr userDrawn="1"/>
        </p:nvSpPr>
        <p:spPr>
          <a:xfrm>
            <a:off x="-1" y="637806"/>
            <a:ext cx="11978641" cy="6220194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71000"/>
                </a:schemeClr>
              </a:gs>
              <a:gs pos="4400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5FC653A8-EB78-4233-9B05-513594F97F44}"/>
              </a:ext>
            </a:extLst>
          </p:cNvPr>
          <p:cNvCxnSpPr>
            <a:cxnSpLocks/>
          </p:cNvCxnSpPr>
          <p:nvPr userDrawn="1"/>
        </p:nvCxnSpPr>
        <p:spPr>
          <a:xfrm>
            <a:off x="2274570" y="417766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F6712989-55A3-401E-B2A7-5B2B0B52387D}"/>
              </a:ext>
            </a:extLst>
          </p:cNvPr>
          <p:cNvCxnSpPr>
            <a:cxnSpLocks/>
          </p:cNvCxnSpPr>
          <p:nvPr userDrawn="1"/>
        </p:nvCxnSpPr>
        <p:spPr>
          <a:xfrm>
            <a:off x="6106632" y="372648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F8F69366-A0B9-45CF-8EE9-56E8B8765C6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969" y="300560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EA34F909-4D2B-4978-B98F-CBD630929BC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70719" y="34586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6519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F44F3CA0-7517-8F4F-AF71-A5895CED3C96}"/>
              </a:ext>
            </a:extLst>
          </p:cNvPr>
          <p:cNvGrpSpPr/>
          <p:nvPr userDrawn="1"/>
        </p:nvGrpSpPr>
        <p:grpSpPr>
          <a:xfrm>
            <a:off x="-12701" y="0"/>
            <a:ext cx="4655358" cy="6858000"/>
            <a:chOff x="-756458" y="0"/>
            <a:chExt cx="4655357" cy="6858000"/>
          </a:xfrm>
          <a:solidFill>
            <a:schemeClr val="accent4"/>
          </a:solidFill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A766C2A-B08D-9F43-840E-38F5BC7BC304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09CD035-180A-0741-A5FA-BF96C110231A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6" name="Subtítulo 2">
            <a:extLst>
              <a:ext uri="{FF2B5EF4-FFF2-40B4-BE49-F238E27FC236}">
                <a16:creationId xmlns:a16="http://schemas.microsoft.com/office/drawing/2014/main" id="{AF9BA34A-7FF8-4995-9217-09BBB6526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985" y="2115976"/>
            <a:ext cx="2593022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bg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8BAC8F4-287D-423D-999F-C4C983C334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985" y="873128"/>
            <a:ext cx="2163098" cy="113073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EAD1B9FA-077D-43F7-B31C-3E6557F96B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981" y="273933"/>
            <a:ext cx="1031951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908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AB8CCE50-3C10-43EB-AD2E-1BA3DA7BF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202" y="-1"/>
            <a:ext cx="7934890" cy="6858001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BB57EE8B-DF98-45CD-B769-4B655A96F751}"/>
              </a:ext>
            </a:extLst>
          </p:cNvPr>
          <p:cNvGrpSpPr/>
          <p:nvPr userDrawn="1"/>
        </p:nvGrpSpPr>
        <p:grpSpPr>
          <a:xfrm>
            <a:off x="-12700" y="0"/>
            <a:ext cx="4864100" cy="6858000"/>
            <a:chOff x="-756458" y="0"/>
            <a:chExt cx="4655357" cy="6858000"/>
          </a:xfrm>
          <a:solidFill>
            <a:srgbClr val="F6F6F6"/>
          </a:solidFill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DD3C2D2D-54E9-48E1-B01F-2B83D2704E76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EDCB4A4F-9F0A-440B-BF78-8F6A92C7AA0F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2" name="Título 1">
            <a:extLst>
              <a:ext uri="{FF2B5EF4-FFF2-40B4-BE49-F238E27FC236}">
                <a16:creationId xmlns:a16="http://schemas.microsoft.com/office/drawing/2014/main" id="{5CD7A62F-0FAA-498A-9925-E9C698702D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736169"/>
            <a:ext cx="3745575" cy="11749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D540F819-D00C-4880-93D8-F72F845CE6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1936315"/>
            <a:ext cx="3759709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6BB9AE6F-2C06-46B2-AF3E-2B591A44A6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6050674"/>
            <a:ext cx="2262550" cy="39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649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5">
            <a:extLst>
              <a:ext uri="{FF2B5EF4-FFF2-40B4-BE49-F238E27FC236}">
                <a16:creationId xmlns:a16="http://schemas.microsoft.com/office/drawing/2014/main" id="{E186EE22-9E95-4126-AB3D-0F81CC56F3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8" y="2708346"/>
            <a:ext cx="1960562" cy="2476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800" b="1" i="0">
                <a:solidFill>
                  <a:schemeClr val="tx1"/>
                </a:solidFill>
                <a:latin typeface="Santander Text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F5B3AABB-B53D-46B5-8727-95C585D257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8" y="2956000"/>
            <a:ext cx="11352212" cy="34352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800" b="0" i="0">
                <a:solidFill>
                  <a:schemeClr val="tx1"/>
                </a:solidFill>
                <a:latin typeface="Santander Text Light" panose="020B03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45344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39175EB-A6F1-4463-9476-78BB190E4B5E}"/>
              </a:ext>
            </a:extLst>
          </p:cNvPr>
          <p:cNvSpPr/>
          <p:nvPr userDrawn="1"/>
        </p:nvSpPr>
        <p:spPr>
          <a:xfrm>
            <a:off x="0" y="0"/>
            <a:ext cx="12192000" cy="6985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FB77043E-2525-47F7-8F31-7A92994A3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3274" y="5925847"/>
            <a:ext cx="3181299" cy="549854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B2CE2F8-B113-49C1-8547-184D1781E7C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32057" y="2966693"/>
            <a:ext cx="2111953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9C53E21-99C2-4852-BA0C-70E066691AB7}"/>
              </a:ext>
            </a:extLst>
          </p:cNvPr>
          <p:cNvCxnSpPr>
            <a:cxnSpLocks/>
          </p:cNvCxnSpPr>
          <p:nvPr userDrawn="1"/>
        </p:nvCxnSpPr>
        <p:spPr>
          <a:xfrm>
            <a:off x="6116757" y="3109804"/>
            <a:ext cx="204065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A9BDE23-23DF-4891-80AB-6B531FD95491}"/>
              </a:ext>
            </a:extLst>
          </p:cNvPr>
          <p:cNvCxnSpPr>
            <a:cxnSpLocks/>
          </p:cNvCxnSpPr>
          <p:nvPr userDrawn="1"/>
        </p:nvCxnSpPr>
        <p:spPr>
          <a:xfrm>
            <a:off x="3832058" y="3663874"/>
            <a:ext cx="2255221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7499DA0-FC3E-4270-9383-217F6E3C6C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47989" y="2376889"/>
            <a:ext cx="1909422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/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2864774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DT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39175EB-A6F1-4463-9476-78BB190E4B5E}"/>
              </a:ext>
            </a:extLst>
          </p:cNvPr>
          <p:cNvSpPr/>
          <p:nvPr userDrawn="1"/>
        </p:nvSpPr>
        <p:spPr>
          <a:xfrm>
            <a:off x="0" y="0"/>
            <a:ext cx="12192000" cy="698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B2CE2F8-B113-49C1-8547-184D1781E7C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32057" y="2966693"/>
            <a:ext cx="2111953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9C53E21-99C2-4852-BA0C-70E066691AB7}"/>
              </a:ext>
            </a:extLst>
          </p:cNvPr>
          <p:cNvCxnSpPr>
            <a:cxnSpLocks/>
          </p:cNvCxnSpPr>
          <p:nvPr userDrawn="1"/>
        </p:nvCxnSpPr>
        <p:spPr>
          <a:xfrm>
            <a:off x="6116757" y="3109804"/>
            <a:ext cx="204065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A9BDE23-23DF-4891-80AB-6B531FD95491}"/>
              </a:ext>
            </a:extLst>
          </p:cNvPr>
          <p:cNvCxnSpPr>
            <a:cxnSpLocks/>
          </p:cNvCxnSpPr>
          <p:nvPr userDrawn="1"/>
        </p:nvCxnSpPr>
        <p:spPr>
          <a:xfrm>
            <a:off x="3832058" y="3663874"/>
            <a:ext cx="2255221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7499DA0-FC3E-4270-9383-217F6E3C6C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47989" y="2376889"/>
            <a:ext cx="1909422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/>
              <a:t>Gracias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0736881D-BBF2-444C-8441-265893FC95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3274" y="5925848"/>
            <a:ext cx="3181298" cy="54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75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D5F0CF-A59C-45D8-8B90-4C68A47359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8E9D0C20-A937-47C8-87DD-C13BE947DB6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93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623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222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89BC3D96-72AD-4103-B6F1-48C137332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27359" y="2001528"/>
            <a:ext cx="4923316" cy="41062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B39BD0FF-87E8-4E82-AC8D-F2C3BE9473D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818314" y="1691640"/>
            <a:ext cx="4932363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5" name="Marcador de contenido 14">
            <a:extLst>
              <a:ext uri="{FF2B5EF4-FFF2-40B4-BE49-F238E27FC236}">
                <a16:creationId xmlns:a16="http://schemas.microsoft.com/office/drawing/2014/main" id="{7F9DB77A-2827-410A-B8AD-D75217F5F0C1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454027" y="1692275"/>
            <a:ext cx="5316538" cy="436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71475" indent="0">
              <a:buNone/>
              <a:defRPr/>
            </a:lvl2pPr>
            <a:lvl3pPr marL="742950" indent="0">
              <a:buNone/>
              <a:defRPr/>
            </a:lvl3pPr>
            <a:lvl4pPr marL="1114425" indent="0">
              <a:buNone/>
              <a:defRPr/>
            </a:lvl4pPr>
            <a:lvl5pPr marL="1485900" indent="0">
              <a:buNone/>
              <a:defRPr/>
            </a:lvl5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74543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36" userDrawn="1">
          <p15:clr>
            <a:srgbClr val="FBAE40"/>
          </p15:clr>
        </p15:guide>
        <p15:guide id="3" pos="404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89BC3D96-72AD-4103-B6F1-48C137332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20338" y="2002163"/>
            <a:ext cx="5319225" cy="41062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B39BD0FF-87E8-4E82-AC8D-F2C3BE9473D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20341" y="1692275"/>
            <a:ext cx="5319225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5" name="Marcador de contenido 14">
            <a:extLst>
              <a:ext uri="{FF2B5EF4-FFF2-40B4-BE49-F238E27FC236}">
                <a16:creationId xmlns:a16="http://schemas.microsoft.com/office/drawing/2014/main" id="{7F9DB77A-2827-410A-B8AD-D75217F5F0C1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452437" y="1692275"/>
            <a:ext cx="5316538" cy="436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71475" indent="0">
              <a:buNone/>
              <a:defRPr/>
            </a:lvl2pPr>
            <a:lvl3pPr marL="742950" indent="0">
              <a:buNone/>
              <a:defRPr/>
            </a:lvl3pPr>
            <a:lvl4pPr marL="1114425" indent="0">
              <a:buNone/>
              <a:defRPr/>
            </a:lvl4pPr>
            <a:lvl5pPr marL="1485900" indent="0">
              <a:buNone/>
              <a:defRPr/>
            </a:lvl5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05344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36" userDrawn="1">
          <p15:clr>
            <a:srgbClr val="FBAE40"/>
          </p15:clr>
        </p15:guide>
        <p15:guide id="3" pos="404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5CABBC28-838E-4E75-B2CC-19063D2B85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19850" y="2001528"/>
            <a:ext cx="533019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22FF684A-1120-4A8E-A122-8486CD10B23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19850" y="1691640"/>
            <a:ext cx="5329238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8"/>
            <a:ext cx="533019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1" y="1691640"/>
            <a:ext cx="5329238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3558840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  <p15:guide id="2" orient="horz" pos="107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 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5CABBC28-838E-4E75-B2CC-19063D2B85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19850" y="2001529"/>
            <a:ext cx="5330190" cy="129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22FF684A-1120-4A8E-A122-8486CD10B23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19850" y="1691640"/>
            <a:ext cx="5329238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9"/>
            <a:ext cx="5330190" cy="129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9259" y="1691640"/>
            <a:ext cx="53205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8" name="Marcador de gráfico 3">
            <a:extLst>
              <a:ext uri="{FF2B5EF4-FFF2-40B4-BE49-F238E27FC236}">
                <a16:creationId xmlns:a16="http://schemas.microsoft.com/office/drawing/2014/main" id="{A534100C-A7C2-47DE-9915-7861CD80024C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3525" y="3970790"/>
            <a:ext cx="5352987" cy="22665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325A055B-C838-43E5-AC0B-878944DF80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3523" y="3486084"/>
            <a:ext cx="5362325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6599239B-B8B4-40AD-BBE6-511C91D1F35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867" y="3718279"/>
            <a:ext cx="536597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11" name="Marcador de gráfico 3">
            <a:extLst>
              <a:ext uri="{FF2B5EF4-FFF2-40B4-BE49-F238E27FC236}">
                <a16:creationId xmlns:a16="http://schemas.microsoft.com/office/drawing/2014/main" id="{88231BB7-4DC5-412C-A632-7301D2649DB2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6398848" y="3970790"/>
            <a:ext cx="5352987" cy="22665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268C0BF3-5A29-4B8B-A9C2-D473954B5BA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398846" y="3486084"/>
            <a:ext cx="5362325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4BAC8A95-21EE-4B3F-92AD-36F23407443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95190" y="3718279"/>
            <a:ext cx="536597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57295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36" userDrawn="1">
          <p15:clr>
            <a:srgbClr val="FBAE40"/>
          </p15:clr>
        </p15:guide>
        <p15:guide id="2" orient="horz" pos="107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6199B7CC-FF45-4609-91BB-69AD45630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3622" y="0"/>
            <a:ext cx="7906622" cy="6858000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BB57EE8B-DF98-45CD-B769-4B655A96F751}"/>
              </a:ext>
            </a:extLst>
          </p:cNvPr>
          <p:cNvGrpSpPr/>
          <p:nvPr userDrawn="1"/>
        </p:nvGrpSpPr>
        <p:grpSpPr>
          <a:xfrm>
            <a:off x="-12700" y="0"/>
            <a:ext cx="4864100" cy="6858000"/>
            <a:chOff x="-756458" y="0"/>
            <a:chExt cx="4655357" cy="6858000"/>
          </a:xfrm>
          <a:solidFill>
            <a:srgbClr val="F6F6F6"/>
          </a:solidFill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DD3C2D2D-54E9-48E1-B01F-2B83D2704E76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EDCB4A4F-9F0A-440B-BF78-8F6A92C7AA0F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1" name="Título 1">
            <a:extLst>
              <a:ext uri="{FF2B5EF4-FFF2-40B4-BE49-F238E27FC236}">
                <a16:creationId xmlns:a16="http://schemas.microsoft.com/office/drawing/2014/main" id="{76CF1265-6925-4C3C-889D-13DC7F1CD5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736169"/>
            <a:ext cx="3745575" cy="11749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B72F59BE-42FB-4763-99E8-94F51EBCDC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1936315"/>
            <a:ext cx="3759709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EB73D48A-43F4-49A4-A9CF-446550DC77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6050674"/>
            <a:ext cx="2262550" cy="39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117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3" y="2001528"/>
            <a:ext cx="3341369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A5E54CA9-9FF4-4D4C-8935-76F556EC429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3413" y="2001528"/>
            <a:ext cx="3341369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297E71B9-8675-40F2-A64B-6CF31007514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2341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D1AAA61F-67F6-4210-9E4C-08B0688ED9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6293" y="2001528"/>
            <a:ext cx="3341369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2CACDDBE-E3FC-4D22-A808-A5B71A9505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1629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11206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s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3" y="2001528"/>
            <a:ext cx="3341369" cy="16484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A5E54CA9-9FF4-4D4C-8935-76F556EC429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3413" y="2001528"/>
            <a:ext cx="3341369" cy="16484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297E71B9-8675-40F2-A64B-6CF31007514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2341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D1AAA61F-67F6-4210-9E4C-08B0688ED9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6293" y="2001528"/>
            <a:ext cx="3341369" cy="16484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2CACDDBE-E3FC-4D22-A808-A5B71A9505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1629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7E527339-F4B2-4F0A-AB1B-5E840BA4F9A9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43524" y="3802066"/>
            <a:ext cx="11322538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6838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DC08B26D-FEAE-4BD2-9859-FC875AD50D1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359151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94D936F-A713-496A-9059-66BCCED8174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59151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6F6E1165-B366-4B72-A4D3-D5BA0CBB00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87771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B738A51-AACA-495B-B606-C135442DA04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87770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469C4768-3E8E-45F7-8742-31D13A351AD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216393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6AE31F30-1E54-4723-885E-60A1530BF59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1639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0633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s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DC08B26D-FEAE-4BD2-9859-FC875AD50D1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359151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94D936F-A713-496A-9059-66BCCED8174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59151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6F6E1165-B366-4B72-A4D3-D5BA0CBB00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87771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B738A51-AACA-495B-B606-C135442DA04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87770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469C4768-3E8E-45F7-8742-31D13A351AD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216393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6AE31F30-1E54-4723-885E-60A1530BF59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1639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080ED81B-83CB-4063-82C4-5FB8AF295666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43524" y="3802066"/>
            <a:ext cx="11322538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9428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6AD90256-1F21-4D4E-8047-4EB7E526CDE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7749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75E22A7A-83AD-4DE8-9CCC-AE0E4931F85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77749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61EA1515-C262-4ECD-8718-B29C6D0B814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12445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E4667152-FA4A-4C86-ABB6-161FE5FCE05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2445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2D54F16F-5399-4DFF-81DD-05C3C290F37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47141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806D2E64-8015-4378-99D2-7F3FBB7CE6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47141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88D31CE1-EB33-4F4E-A333-90BC91B72F0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81837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1EA41D21-AEBA-4211-B673-E31BF64338B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1837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27856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s and obj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6AD90256-1F21-4D4E-8047-4EB7E526CDE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7749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75E22A7A-83AD-4DE8-9CCC-AE0E4931F85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77749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61EA1515-C262-4ECD-8718-B29C6D0B814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12445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E4667152-FA4A-4C86-ABB6-161FE5FCE05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2445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2D54F16F-5399-4DFF-81DD-05C3C290F37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47141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806D2E64-8015-4378-99D2-7F3FBB7CE6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47141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88D31CE1-EB33-4F4E-A333-90BC91B72F0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81837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1EA41D21-AEBA-4211-B673-E31BF64338B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1837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1A45D9-B8C5-434B-A776-D67A978AD4A9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43524" y="3802066"/>
            <a:ext cx="11322538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54454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3" y="2001528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A5E54CA9-9FF4-4D4C-8935-76F556EC429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3413" y="2001528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297E71B9-8675-40F2-A64B-6CF31007514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2341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D1AAA61F-67F6-4210-9E4C-08B0688ED9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6293" y="2001528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2CACDDBE-E3FC-4D22-A808-A5B71A9505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1629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F9CF7978-9721-43A9-9A6E-683593D649F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30533" y="4174794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A92C6E7E-1B9A-4B5B-8786-9427101847C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30530" y="3864906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9FA8B101-54B2-47F7-9319-DA50FABCBE5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423413" y="4174794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26537227-D7EB-4CCD-810A-72C09E92618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23410" y="3864906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79D245BF-7879-489A-BAB7-C9F6130998F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416293" y="4174794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5AA661E4-FA7A-4915-AA9E-67B0BAD696B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416290" y="3864906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2495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CC2FBE8A-CB65-4639-BE93-14FFE6CC8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961" y="2222500"/>
            <a:ext cx="4348641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9B0B5EDF-8213-4E5E-BBAB-F8DEAA36F4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2915" y="1836420"/>
            <a:ext cx="4357687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1" name="Marcador de texto 5">
            <a:extLst>
              <a:ext uri="{FF2B5EF4-FFF2-40B4-BE49-F238E27FC236}">
                <a16:creationId xmlns:a16="http://schemas.microsoft.com/office/drawing/2014/main" id="{47C1F83D-8FEE-5C4E-9D16-6DBBE6AE8A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2933" y="3504687"/>
            <a:ext cx="1924494" cy="3357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81D2781-599C-054E-9531-5EE9D90701B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12922" y="2951791"/>
            <a:ext cx="1924494" cy="31719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:a16="http://schemas.microsoft.com/office/drawing/2014/main" id="{7A24E957-D9F9-104C-A759-0F986B4FC5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803220" y="2398898"/>
            <a:ext cx="1924494" cy="3138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03364819-BC4E-4452-BA23-03F03EC786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60" y="939173"/>
            <a:ext cx="4375787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A096C12-70EB-495B-B8B1-7E6E9F7E9EB8}"/>
              </a:ext>
            </a:extLst>
          </p:cNvPr>
          <p:cNvCxnSpPr>
            <a:cxnSpLocks/>
          </p:cNvCxnSpPr>
          <p:nvPr userDrawn="1"/>
        </p:nvCxnSpPr>
        <p:spPr>
          <a:xfrm>
            <a:off x="462773" y="797296"/>
            <a:ext cx="43522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75866655-1365-4A48-80E0-EBFD1B8C457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9844" y="3855722"/>
            <a:ext cx="1924494" cy="2282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C0BC5578-85AE-453E-90FE-6CC81995B7B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612922" y="3288347"/>
            <a:ext cx="1924494" cy="2282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F903FB2E-FECB-43FD-A778-E1313EE438B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810047" y="2731179"/>
            <a:ext cx="1924494" cy="2282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80853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texto 5">
            <a:extLst>
              <a:ext uri="{FF2B5EF4-FFF2-40B4-BE49-F238E27FC236}">
                <a16:creationId xmlns:a16="http://schemas.microsoft.com/office/drawing/2014/main" id="{47C1F83D-8FEE-5C4E-9D16-6DBBE6AE8A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0708" y="936626"/>
            <a:ext cx="1956390" cy="6588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1D2E9031-3A36-AE46-B493-4A5EB019925B}"/>
              </a:ext>
            </a:extLst>
          </p:cNvPr>
          <p:cNvCxnSpPr>
            <a:cxnSpLocks/>
          </p:cNvCxnSpPr>
          <p:nvPr userDrawn="1"/>
        </p:nvCxnSpPr>
        <p:spPr>
          <a:xfrm>
            <a:off x="5370525" y="797296"/>
            <a:ext cx="197889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81D2781-599C-054E-9531-5EE9D90701B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81016" y="936626"/>
            <a:ext cx="1956390" cy="6588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679A56D5-4D24-A944-80D7-7D5EAD0CF4DF}"/>
              </a:ext>
            </a:extLst>
          </p:cNvPr>
          <p:cNvCxnSpPr>
            <a:cxnSpLocks/>
          </p:cNvCxnSpPr>
          <p:nvPr userDrawn="1"/>
        </p:nvCxnSpPr>
        <p:spPr>
          <a:xfrm>
            <a:off x="7560830" y="797296"/>
            <a:ext cx="197889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arcador de texto 5">
            <a:extLst>
              <a:ext uri="{FF2B5EF4-FFF2-40B4-BE49-F238E27FC236}">
                <a16:creationId xmlns:a16="http://schemas.microsoft.com/office/drawing/2014/main" id="{7A24E957-D9F9-104C-A759-0F986B4FC5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92579" y="936626"/>
            <a:ext cx="1956390" cy="6588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6E23DF16-4F86-5346-AA0C-5F70A3BCECD4}"/>
              </a:ext>
            </a:extLst>
          </p:cNvPr>
          <p:cNvCxnSpPr>
            <a:cxnSpLocks/>
          </p:cNvCxnSpPr>
          <p:nvPr userDrawn="1"/>
        </p:nvCxnSpPr>
        <p:spPr>
          <a:xfrm>
            <a:off x="9772397" y="797296"/>
            <a:ext cx="197889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68123552-AD5A-BE44-9D1A-6A59A1ECF62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90708" y="1727200"/>
            <a:ext cx="1956390" cy="45100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01419B87-68DC-1A4C-A9F9-F4ECC210083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81016" y="1727200"/>
            <a:ext cx="1956390" cy="45100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5">
            <a:extLst>
              <a:ext uri="{FF2B5EF4-FFF2-40B4-BE49-F238E27FC236}">
                <a16:creationId xmlns:a16="http://schemas.microsoft.com/office/drawing/2014/main" id="{57A669EE-3D1E-6447-ABA4-DD7FF20C1A7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792579" y="1727200"/>
            <a:ext cx="1956390" cy="45100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3" name="Título 1">
            <a:extLst>
              <a:ext uri="{FF2B5EF4-FFF2-40B4-BE49-F238E27FC236}">
                <a16:creationId xmlns:a16="http://schemas.microsoft.com/office/drawing/2014/main" id="{AEF3572F-6DBD-454B-A6F6-E1382E1B21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4361342" cy="45751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3F6F408C-A266-4E90-99B1-D06BCEE3A177}"/>
              </a:ext>
            </a:extLst>
          </p:cNvPr>
          <p:cNvCxnSpPr>
            <a:cxnSpLocks/>
          </p:cNvCxnSpPr>
          <p:nvPr userDrawn="1"/>
        </p:nvCxnSpPr>
        <p:spPr>
          <a:xfrm>
            <a:off x="462773" y="797296"/>
            <a:ext cx="43522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911B24E5-F7B4-4F7E-A55D-20FABBF73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2775" y="2127568"/>
            <a:ext cx="4348641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AE78003B-C508-4826-B806-B6F55E205E1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53729" y="1741488"/>
            <a:ext cx="4357687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3490536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936ADA27-CEDF-41C7-A48F-06DB2227D1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5" y="1718244"/>
            <a:ext cx="11306175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5" y="2349500"/>
            <a:ext cx="11306175" cy="38877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CB524C6F-854C-460E-B06B-DEA5F76FA89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1" y="1950439"/>
            <a:ext cx="11306175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9D8B7694-2E23-425B-B59B-6E1BDBDF4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85027861-F774-4395-BD3A-2AABE01A5A00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59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out image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>
            <a:extLst>
              <a:ext uri="{FF2B5EF4-FFF2-40B4-BE49-F238E27FC236}">
                <a16:creationId xmlns:a16="http://schemas.microsoft.com/office/drawing/2014/main" id="{C274D735-F031-C845-839C-9A10048D0899}"/>
              </a:ext>
            </a:extLst>
          </p:cNvPr>
          <p:cNvGrpSpPr/>
          <p:nvPr userDrawn="1"/>
        </p:nvGrpSpPr>
        <p:grpSpPr>
          <a:xfrm>
            <a:off x="-1" y="659219"/>
            <a:ext cx="12192001" cy="5497032"/>
            <a:chOff x="-1" y="659219"/>
            <a:chExt cx="12192001" cy="5497032"/>
          </a:xfrm>
          <a:solidFill>
            <a:schemeClr val="accent1"/>
          </a:solidFill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0E055A1B-3660-8D4E-84DE-9ECFF1C17D2C}"/>
                </a:ext>
              </a:extLst>
            </p:cNvPr>
            <p:cNvSpPr/>
            <p:nvPr userDrawn="1"/>
          </p:nvSpPr>
          <p:spPr>
            <a:xfrm>
              <a:off x="0" y="659219"/>
              <a:ext cx="12192000" cy="46251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FCFA1743-B97A-8445-9210-427788653070}"/>
                </a:ext>
              </a:extLst>
            </p:cNvPr>
            <p:cNvSpPr/>
            <p:nvPr userDrawn="1"/>
          </p:nvSpPr>
          <p:spPr>
            <a:xfrm>
              <a:off x="-1" y="1531089"/>
              <a:ext cx="6131441" cy="46251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A692D9AB-55D2-4FEF-AB87-63A37F188514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2" name="Rectángulo 1">
              <a:extLst>
                <a:ext uri="{FF2B5EF4-FFF2-40B4-BE49-F238E27FC236}">
                  <a16:creationId xmlns:a16="http://schemas.microsoft.com/office/drawing/2014/main" id="{29F681FB-F583-4820-AD17-9E9C1BDD22F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526BA127-0739-4BAE-A142-EF04EACFC741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2463B206-FC62-44A4-B652-071439897935}"/>
              </a:ext>
            </a:extLst>
          </p:cNvPr>
          <p:cNvCxnSpPr>
            <a:cxnSpLocks/>
          </p:cNvCxnSpPr>
          <p:nvPr userDrawn="1"/>
        </p:nvCxnSpPr>
        <p:spPr>
          <a:xfrm>
            <a:off x="2115054" y="35309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F57F08B7-24E5-4507-BECC-92162E75EA62}"/>
              </a:ext>
            </a:extLst>
          </p:cNvPr>
          <p:cNvCxnSpPr>
            <a:cxnSpLocks/>
          </p:cNvCxnSpPr>
          <p:nvPr userDrawn="1"/>
        </p:nvCxnSpPr>
        <p:spPr>
          <a:xfrm>
            <a:off x="6147198" y="30797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1">
            <a:extLst>
              <a:ext uri="{FF2B5EF4-FFF2-40B4-BE49-F238E27FC236}">
                <a16:creationId xmlns:a16="http://schemas.microsoft.com/office/drawing/2014/main" id="{42B533C6-BE4E-480D-9817-DDFD46B0ED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29267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out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059B38A0-6D1E-4B68-9B1F-A751104EBB3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23588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44931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451100"/>
            <a:ext cx="5259386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9" name="Marcador de gráfico 3">
            <a:extLst>
              <a:ext uri="{FF2B5EF4-FFF2-40B4-BE49-F238E27FC236}">
                <a16:creationId xmlns:a16="http://schemas.microsoft.com/office/drawing/2014/main" id="{F883A945-8B98-4C8F-858C-D5C32AED72DC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6494142" y="2451100"/>
            <a:ext cx="5259386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91A5C95F-C931-41D7-B684-67E170CFB6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D54BF0D6-C959-4A80-81E5-2F5FB320AE6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59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70E2C192-9C51-40EA-BA3C-9FEF2008A7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493195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3E18A105-92ED-4D3F-9172-E546994C2FB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89541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8034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451100"/>
            <a:ext cx="3609257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91A5C95F-C931-41D7-B684-67E170CFB6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D54BF0D6-C959-4A80-81E5-2F5FB320AE6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4" name="Marcador de gráfico 3">
            <a:extLst>
              <a:ext uri="{FF2B5EF4-FFF2-40B4-BE49-F238E27FC236}">
                <a16:creationId xmlns:a16="http://schemas.microsoft.com/office/drawing/2014/main" id="{FFDE05C2-EC9B-41FE-A4E0-FD8CA733210B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4297801" y="2451100"/>
            <a:ext cx="3609257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61011E59-E135-4A46-B920-4EEAB72ECC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801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1986B9A0-C3FE-4058-9F5B-03EF81CE9C1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4147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7" name="Marcador de gráfico 3">
            <a:extLst>
              <a:ext uri="{FF2B5EF4-FFF2-40B4-BE49-F238E27FC236}">
                <a16:creationId xmlns:a16="http://schemas.microsoft.com/office/drawing/2014/main" id="{5520C83F-30B6-4BCC-AB1D-1F75B0265E0E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8152686" y="2451100"/>
            <a:ext cx="3609257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5DE466A1-7019-45C8-8C50-A9A774E7D09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15268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B6ADAB0D-5732-4B9A-B577-C10E8BAD8A6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14903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0213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arcador de gráfico 3">
            <a:extLst>
              <a:ext uri="{FF2B5EF4-FFF2-40B4-BE49-F238E27FC236}">
                <a16:creationId xmlns:a16="http://schemas.microsoft.com/office/drawing/2014/main" id="{A3C6F170-C4B2-4C33-B6E2-AFF0997A785E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46D3E3D1-894D-4B9F-AB65-2B96CBA30B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F719246B-170B-42F1-88B2-17957173217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59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6F7CACFD-F146-4B47-A48B-A39BC28D202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493195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13BEE8BC-0AE4-4BD0-A17D-39192BB483C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89541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3" name="Marcador de gráfico 3">
            <a:extLst>
              <a:ext uri="{FF2B5EF4-FFF2-40B4-BE49-F238E27FC236}">
                <a16:creationId xmlns:a16="http://schemas.microsoft.com/office/drawing/2014/main" id="{64F8FF50-291A-49EE-B380-42440B418EB4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649298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0" name="Marcador de gráfico 3">
            <a:extLst>
              <a:ext uri="{FF2B5EF4-FFF2-40B4-BE49-F238E27FC236}">
                <a16:creationId xmlns:a16="http://schemas.microsoft.com/office/drawing/2014/main" id="{74D79743-258A-4D18-A2F1-8E6B195CFAA5}"/>
              </a:ext>
            </a:extLst>
          </p:cNvPr>
          <p:cNvSpPr>
            <a:spLocks noGrp="1"/>
          </p:cNvSpPr>
          <p:nvPr>
            <p:ph type="chart" sz="quarter" idx="71" hasCustomPrompt="1"/>
          </p:nvPr>
        </p:nvSpPr>
        <p:spPr>
          <a:xfrm>
            <a:off x="442912" y="4466806"/>
            <a:ext cx="11309457" cy="178368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0050668F-5439-4FD3-85DE-DF4D2D20DBA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4002422"/>
            <a:ext cx="11299916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A277DEB0-4EBC-4710-9FCA-3B255F86284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39259" y="4234617"/>
            <a:ext cx="11299916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1612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arcador de gráfico 3">
            <a:extLst>
              <a:ext uri="{FF2B5EF4-FFF2-40B4-BE49-F238E27FC236}">
                <a16:creationId xmlns:a16="http://schemas.microsoft.com/office/drawing/2014/main" id="{A3C6F170-C4B2-4C33-B6E2-AFF0997A785E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46D3E3D1-894D-4B9F-AB65-2B96CBA30B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F719246B-170B-42F1-88B2-17957173217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59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6F7CACFD-F146-4B47-A48B-A39BC28D202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493195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13BEE8BC-0AE4-4BD0-A17D-39192BB483C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89541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3" name="Marcador de gráfico 3">
            <a:extLst>
              <a:ext uri="{FF2B5EF4-FFF2-40B4-BE49-F238E27FC236}">
                <a16:creationId xmlns:a16="http://schemas.microsoft.com/office/drawing/2014/main" id="{64F8FF50-291A-49EE-B380-42440B418EB4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649298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0" name="Marcador de gráfico 3">
            <a:extLst>
              <a:ext uri="{FF2B5EF4-FFF2-40B4-BE49-F238E27FC236}">
                <a16:creationId xmlns:a16="http://schemas.microsoft.com/office/drawing/2014/main" id="{74D79743-258A-4D18-A2F1-8E6B195CFAA5}"/>
              </a:ext>
            </a:extLst>
          </p:cNvPr>
          <p:cNvSpPr>
            <a:spLocks noGrp="1"/>
          </p:cNvSpPr>
          <p:nvPr>
            <p:ph type="chart" sz="quarter" idx="71" hasCustomPrompt="1"/>
          </p:nvPr>
        </p:nvSpPr>
        <p:spPr>
          <a:xfrm>
            <a:off x="44291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0050668F-5439-4FD3-85DE-DF4D2D20DBA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A277DEB0-4EBC-4710-9FCA-3B255F86284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39259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B075E24F-C158-407F-B786-101AC02188C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93195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78210758-C83A-474B-AC73-6756E4891C7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89541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5" name="Marcador de gráfico 3">
            <a:extLst>
              <a:ext uri="{FF2B5EF4-FFF2-40B4-BE49-F238E27FC236}">
                <a16:creationId xmlns:a16="http://schemas.microsoft.com/office/drawing/2014/main" id="{CCB1F036-D17F-48BE-BE7D-D365A2356556}"/>
              </a:ext>
            </a:extLst>
          </p:cNvPr>
          <p:cNvSpPr>
            <a:spLocks noGrp="1"/>
          </p:cNvSpPr>
          <p:nvPr>
            <p:ph type="chart" sz="quarter" idx="76" hasCustomPrompt="1"/>
          </p:nvPr>
        </p:nvSpPr>
        <p:spPr>
          <a:xfrm>
            <a:off x="649298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58574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Marcador de gráfico 3">
            <a:extLst>
              <a:ext uri="{FF2B5EF4-FFF2-40B4-BE49-F238E27FC236}">
                <a16:creationId xmlns:a16="http://schemas.microsoft.com/office/drawing/2014/main" id="{74D79743-258A-4D18-A2F1-8E6B195CFAA5}"/>
              </a:ext>
            </a:extLst>
          </p:cNvPr>
          <p:cNvSpPr>
            <a:spLocks noGrp="1"/>
          </p:cNvSpPr>
          <p:nvPr>
            <p:ph type="chart" sz="quarter" idx="71" hasCustomPrompt="1"/>
          </p:nvPr>
        </p:nvSpPr>
        <p:spPr>
          <a:xfrm>
            <a:off x="44291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0050668F-5439-4FD3-85DE-DF4D2D20DBA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A277DEB0-4EBC-4710-9FCA-3B255F86284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39259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B075E24F-C158-407F-B786-101AC02188C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93195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78210758-C83A-474B-AC73-6756E4891C7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89541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5" name="Marcador de gráfico 3">
            <a:extLst>
              <a:ext uri="{FF2B5EF4-FFF2-40B4-BE49-F238E27FC236}">
                <a16:creationId xmlns:a16="http://schemas.microsoft.com/office/drawing/2014/main" id="{CCB1F036-D17F-48BE-BE7D-D365A2356556}"/>
              </a:ext>
            </a:extLst>
          </p:cNvPr>
          <p:cNvSpPr>
            <a:spLocks noGrp="1"/>
          </p:cNvSpPr>
          <p:nvPr>
            <p:ph type="chart" sz="quarter" idx="76" hasCustomPrompt="1"/>
          </p:nvPr>
        </p:nvSpPr>
        <p:spPr>
          <a:xfrm>
            <a:off x="649298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17" name="Marcador de gráfico 3">
            <a:extLst>
              <a:ext uri="{FF2B5EF4-FFF2-40B4-BE49-F238E27FC236}">
                <a16:creationId xmlns:a16="http://schemas.microsoft.com/office/drawing/2014/main" id="{1BBED300-AE1D-4522-B424-4DF461F52876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45110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5D6713AF-077E-4E2D-A27C-D9619792B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85ABDA6C-835E-4042-8B67-F99F2D15D02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5" name="Marcador de gráfico 3">
            <a:extLst>
              <a:ext uri="{FF2B5EF4-FFF2-40B4-BE49-F238E27FC236}">
                <a16:creationId xmlns:a16="http://schemas.microsoft.com/office/drawing/2014/main" id="{F74077C6-A545-4B50-B95B-26A6F86B5B68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4297801" y="245110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E6E83DC-32BD-49D0-A082-494B760DB4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801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BE0BBE6B-A71A-481A-9330-42A564D0683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4147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8" name="Marcador de gráfico 3">
            <a:extLst>
              <a:ext uri="{FF2B5EF4-FFF2-40B4-BE49-F238E27FC236}">
                <a16:creationId xmlns:a16="http://schemas.microsoft.com/office/drawing/2014/main" id="{23FF60E0-6A6C-4713-91EC-79101DBEED65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8152686" y="245110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D64A3392-1A51-4783-B910-26BDD5D2062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5268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6" name="Marcador de texto 4">
            <a:extLst>
              <a:ext uri="{FF2B5EF4-FFF2-40B4-BE49-F238E27FC236}">
                <a16:creationId xmlns:a16="http://schemas.microsoft.com/office/drawing/2014/main" id="{4ACAD040-4D07-4AD7-B2EB-1925E983328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14903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95067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rcador de gráfico 3">
            <a:extLst>
              <a:ext uri="{FF2B5EF4-FFF2-40B4-BE49-F238E27FC236}">
                <a16:creationId xmlns:a16="http://schemas.microsoft.com/office/drawing/2014/main" id="{1BBED300-AE1D-4522-B424-4DF461F52876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29108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5D6713AF-077E-4E2D-A27C-D9619792B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85ABDA6C-835E-4042-8B67-F99F2D15D02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5" name="Marcador de gráfico 3">
            <a:extLst>
              <a:ext uri="{FF2B5EF4-FFF2-40B4-BE49-F238E27FC236}">
                <a16:creationId xmlns:a16="http://schemas.microsoft.com/office/drawing/2014/main" id="{F74077C6-A545-4B50-B95B-26A6F86B5B68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4297801" y="229108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E6E83DC-32BD-49D0-A082-494B760DB4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801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BE0BBE6B-A71A-481A-9330-42A564D0683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4147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8" name="Marcador de gráfico 3">
            <a:extLst>
              <a:ext uri="{FF2B5EF4-FFF2-40B4-BE49-F238E27FC236}">
                <a16:creationId xmlns:a16="http://schemas.microsoft.com/office/drawing/2014/main" id="{23FF60E0-6A6C-4713-91EC-79101DBEED65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8152686" y="229108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D64A3392-1A51-4783-B910-26BDD5D2062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5268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6" name="Marcador de texto 4">
            <a:extLst>
              <a:ext uri="{FF2B5EF4-FFF2-40B4-BE49-F238E27FC236}">
                <a16:creationId xmlns:a16="http://schemas.microsoft.com/office/drawing/2014/main" id="{4ACAD040-4D07-4AD7-B2EB-1925E983328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14903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42" name="Marcador de gráfico 3">
            <a:extLst>
              <a:ext uri="{FF2B5EF4-FFF2-40B4-BE49-F238E27FC236}">
                <a16:creationId xmlns:a16="http://schemas.microsoft.com/office/drawing/2014/main" id="{4E2E06AC-2387-4CA0-B018-BA38E75AD6AA}"/>
              </a:ext>
            </a:extLst>
          </p:cNvPr>
          <p:cNvSpPr>
            <a:spLocks noGrp="1"/>
          </p:cNvSpPr>
          <p:nvPr>
            <p:ph type="chart" sz="quarter" idx="79" hasCustomPrompt="1"/>
          </p:nvPr>
        </p:nvSpPr>
        <p:spPr>
          <a:xfrm>
            <a:off x="442916" y="475234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43" name="Marcador de texto 4">
            <a:extLst>
              <a:ext uri="{FF2B5EF4-FFF2-40B4-BE49-F238E27FC236}">
                <a16:creationId xmlns:a16="http://schemas.microsoft.com/office/drawing/2014/main" id="{23EA909F-BF2E-47EA-8C08-CE7DA89662C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42916" y="417950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44" name="Marcador de texto 4">
            <a:extLst>
              <a:ext uri="{FF2B5EF4-FFF2-40B4-BE49-F238E27FC236}">
                <a16:creationId xmlns:a16="http://schemas.microsoft.com/office/drawing/2014/main" id="{355E7AE0-BD93-46C5-BCC7-14BD463E075A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39262" y="441169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45" name="Marcador de gráfico 3">
            <a:extLst>
              <a:ext uri="{FF2B5EF4-FFF2-40B4-BE49-F238E27FC236}">
                <a16:creationId xmlns:a16="http://schemas.microsoft.com/office/drawing/2014/main" id="{08B65512-5B21-4DB0-8896-ACED07D4D643}"/>
              </a:ext>
            </a:extLst>
          </p:cNvPr>
          <p:cNvSpPr>
            <a:spLocks noGrp="1"/>
          </p:cNvSpPr>
          <p:nvPr>
            <p:ph type="chart" sz="quarter" idx="82" hasCustomPrompt="1"/>
          </p:nvPr>
        </p:nvSpPr>
        <p:spPr>
          <a:xfrm>
            <a:off x="4297801" y="475234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46" name="Marcador de texto 4">
            <a:extLst>
              <a:ext uri="{FF2B5EF4-FFF2-40B4-BE49-F238E27FC236}">
                <a16:creationId xmlns:a16="http://schemas.microsoft.com/office/drawing/2014/main" id="{0FCA213A-23E7-436A-8D39-3824699B874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297801" y="417950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47" name="Marcador de texto 4">
            <a:extLst>
              <a:ext uri="{FF2B5EF4-FFF2-40B4-BE49-F238E27FC236}">
                <a16:creationId xmlns:a16="http://schemas.microsoft.com/office/drawing/2014/main" id="{174F2109-187F-4250-8346-C1303B029EB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294147" y="441169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48" name="Marcador de gráfico 3">
            <a:extLst>
              <a:ext uri="{FF2B5EF4-FFF2-40B4-BE49-F238E27FC236}">
                <a16:creationId xmlns:a16="http://schemas.microsoft.com/office/drawing/2014/main" id="{FF2F0CF8-9ABD-49EA-9DEB-9F32DA2BB682}"/>
              </a:ext>
            </a:extLst>
          </p:cNvPr>
          <p:cNvSpPr>
            <a:spLocks noGrp="1"/>
          </p:cNvSpPr>
          <p:nvPr>
            <p:ph type="chart" sz="quarter" idx="85" hasCustomPrompt="1"/>
          </p:nvPr>
        </p:nvSpPr>
        <p:spPr>
          <a:xfrm>
            <a:off x="8152686" y="475234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49" name="Marcador de texto 4">
            <a:extLst>
              <a:ext uri="{FF2B5EF4-FFF2-40B4-BE49-F238E27FC236}">
                <a16:creationId xmlns:a16="http://schemas.microsoft.com/office/drawing/2014/main" id="{1B6AEDDD-1F36-41D0-BA5B-BEFE6F549DF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152686" y="417950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50" name="Marcador de texto 4">
            <a:extLst>
              <a:ext uri="{FF2B5EF4-FFF2-40B4-BE49-F238E27FC236}">
                <a16:creationId xmlns:a16="http://schemas.microsoft.com/office/drawing/2014/main" id="{D36423C6-ADB0-41A1-8BB4-4CBC237F923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149032" y="441169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961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5375033" y="2362884"/>
            <a:ext cx="6374058" cy="38744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48A6AA47-53C4-43F9-A7D8-EC6D26F9F78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375033" y="1709206"/>
            <a:ext cx="6378250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43AFF363-4C6C-4655-B054-694A479F33B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375277" y="2088365"/>
            <a:ext cx="6378251" cy="2357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Fuente Gráfico</a:t>
            </a: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52623ED4-9832-4D3C-86AB-17810BA959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961" y="2088364"/>
            <a:ext cx="4348641" cy="4148927"/>
          </a:xfrm>
          <a:prstGeom prst="rect">
            <a:avLst/>
          </a:prstGeom>
        </p:spPr>
        <p:txBody>
          <a:bodyPr lIns="3600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E547FB6A-B2A8-4E74-A1D0-4AA782A782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1AD67BA4-DD3E-4381-8163-BE129D67768D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6008DE5B-261B-4F01-907C-992D726D5A6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8102" y="1709206"/>
            <a:ext cx="4352256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3224189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48A6AA47-53C4-43F9-A7D8-EC6D26F9F78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375275" y="1718244"/>
            <a:ext cx="6378250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43AFF363-4C6C-4655-B054-694A479F33B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375277" y="2088365"/>
            <a:ext cx="6378251" cy="2357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5A0F4276-617C-4D27-90E7-83B5FBE89D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2773" y="5170282"/>
            <a:ext cx="1792292" cy="6658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550" baseline="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Fact</a:t>
            </a:r>
            <a:endParaRPr lang="es-ES" dirty="0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8D2C2761-CDB4-4DA9-B876-933C96254C8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2771" y="5869963"/>
            <a:ext cx="1792294" cy="356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38" baseline="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Fact</a:t>
            </a:r>
            <a:endParaRPr lang="es-ES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AA63B073-320A-4355-B699-48658667B19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2773" y="4929224"/>
            <a:ext cx="1792295" cy="2410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63" b="0" baseline="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Fact</a:t>
            </a:r>
            <a:endParaRPr lang="es-ES" dirty="0"/>
          </a:p>
        </p:txBody>
      </p:sp>
      <p:sp>
        <p:nvSpPr>
          <p:cNvPr id="12" name="Marcador de tabla 3">
            <a:extLst>
              <a:ext uri="{FF2B5EF4-FFF2-40B4-BE49-F238E27FC236}">
                <a16:creationId xmlns:a16="http://schemas.microsoft.com/office/drawing/2014/main" id="{AE2A4C76-F8EE-4514-92C7-7039A75D000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375275" y="2451104"/>
            <a:ext cx="6337300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able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CCD8D0B-6C7D-4974-8558-CE14C479F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267847D2-84E8-49DF-A466-4EFCFD1F9529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F8073D5C-2859-4AA4-9C1C-2936C57AA0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961" y="2088362"/>
            <a:ext cx="4348641" cy="1839950"/>
          </a:xfrm>
          <a:prstGeom prst="rect">
            <a:avLst/>
          </a:prstGeom>
        </p:spPr>
        <p:txBody>
          <a:bodyPr lIns="3600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2EA63AC8-8AAF-42E8-9A2C-D7243285A8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8345" y="1718244"/>
            <a:ext cx="4352256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4082844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A91E7ABF-0433-4394-8396-5538B9613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5275" y="949592"/>
            <a:ext cx="6361561" cy="1781855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pattern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685FE03-4869-4534-B839-559C997EE3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5275" y="3043360"/>
            <a:ext cx="6361561" cy="1451781"/>
          </a:xfrm>
          <a:prstGeom prst="rect">
            <a:avLst/>
          </a:prstGeom>
        </p:spPr>
        <p:txBody>
          <a:bodyPr lIns="0"/>
          <a:lstStyle>
            <a:lvl1pPr>
              <a:lnSpc>
                <a:spcPct val="120000"/>
              </a:lnSpc>
              <a:buClr>
                <a:schemeClr val="accent1"/>
              </a:buClr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557213" indent="-185738">
              <a:lnSpc>
                <a:spcPct val="120000"/>
              </a:lnSpc>
              <a:buClr>
                <a:schemeClr val="accent1"/>
              </a:buClr>
              <a:buFont typeface="Calibri" panose="020F0502020204030204" pitchFamily="34" charset="0"/>
              <a:buChar char="–"/>
              <a:defRPr sz="1200">
                <a:solidFill>
                  <a:schemeClr val="tx1"/>
                </a:solidFill>
                <a:latin typeface="Santander Text Light" panose="020B0304020201020104" pitchFamily="34" charset="0"/>
              </a:defRPr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pattern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id="{5A39879E-2A01-473D-8528-AB922992A2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75275" y="4812270"/>
            <a:ext cx="6361561" cy="875519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pattern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00BCC886-BD26-A54F-9C84-A80159F52E06}"/>
              </a:ext>
            </a:extLst>
          </p:cNvPr>
          <p:cNvCxnSpPr>
            <a:cxnSpLocks/>
          </p:cNvCxnSpPr>
          <p:nvPr userDrawn="1"/>
        </p:nvCxnSpPr>
        <p:spPr>
          <a:xfrm>
            <a:off x="5375020" y="794121"/>
            <a:ext cx="637407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ítulo 1">
            <a:extLst>
              <a:ext uri="{FF2B5EF4-FFF2-40B4-BE49-F238E27FC236}">
                <a16:creationId xmlns:a16="http://schemas.microsoft.com/office/drawing/2014/main" id="{CA13477E-CF4E-4ED8-B98D-E4C6479A2E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4361342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6B740C66-918D-4B8C-84FA-03A02C75119F}"/>
              </a:ext>
            </a:extLst>
          </p:cNvPr>
          <p:cNvCxnSpPr>
            <a:cxnSpLocks/>
          </p:cNvCxnSpPr>
          <p:nvPr userDrawn="1"/>
        </p:nvCxnSpPr>
        <p:spPr>
          <a:xfrm>
            <a:off x="462773" y="797296"/>
            <a:ext cx="43522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227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5">
            <a:extLst>
              <a:ext uri="{FF2B5EF4-FFF2-40B4-BE49-F238E27FC236}">
                <a16:creationId xmlns:a16="http://schemas.microsoft.com/office/drawing/2014/main" id="{E186EE22-9E95-4126-AB3D-0F81CC56F3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8" y="2708346"/>
            <a:ext cx="1960562" cy="2476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800" b="0" i="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F5B3AABB-B53D-46B5-8727-95C585D257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8" y="2956000"/>
            <a:ext cx="11352212" cy="34352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25"/>
              </a:spcAft>
              <a:buNone/>
              <a:defRPr sz="800" b="0" i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22342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_01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8F20059E-5452-476D-8A27-AB372DD43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6" t="39722" r="-2" b="12407"/>
          <a:stretch/>
        </p:blipFill>
        <p:spPr>
          <a:xfrm>
            <a:off x="-1" y="653147"/>
            <a:ext cx="12191999" cy="5507942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6B70D86C-2097-4806-9EA1-7E61F072D692}"/>
              </a:ext>
            </a:extLst>
          </p:cNvPr>
          <p:cNvSpPr/>
          <p:nvPr userDrawn="1"/>
        </p:nvSpPr>
        <p:spPr>
          <a:xfrm>
            <a:off x="0" y="653143"/>
            <a:ext cx="12009120" cy="5507944"/>
          </a:xfrm>
          <a:prstGeom prst="rect">
            <a:avLst/>
          </a:prstGeom>
          <a:gradFill flip="none" rotWithShape="1">
            <a:gsLst>
              <a:gs pos="58000">
                <a:schemeClr val="accent1">
                  <a:alpha val="45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1E7C1E5-3C31-4DE9-A8EB-4D0E866E41C3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5B3C424-DB64-4A80-ABDE-080E8220A3D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FC2C37-73FD-469E-AEEB-036833F3979F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15B0DE2-9C1F-4FE2-BC9A-BBD11BF04F13}"/>
              </a:ext>
            </a:extLst>
          </p:cNvPr>
          <p:cNvCxnSpPr>
            <a:cxnSpLocks/>
          </p:cNvCxnSpPr>
          <p:nvPr userDrawn="1"/>
        </p:nvCxnSpPr>
        <p:spPr>
          <a:xfrm>
            <a:off x="2115054" y="25403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F69D26ED-3F85-462E-9EFE-DC512FF2144D}"/>
              </a:ext>
            </a:extLst>
          </p:cNvPr>
          <p:cNvCxnSpPr>
            <a:cxnSpLocks/>
          </p:cNvCxnSpPr>
          <p:nvPr userDrawn="1"/>
        </p:nvCxnSpPr>
        <p:spPr>
          <a:xfrm>
            <a:off x="6147198" y="20891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ítulo 1">
            <a:extLst>
              <a:ext uri="{FF2B5EF4-FFF2-40B4-BE49-F238E27FC236}">
                <a16:creationId xmlns:a16="http://schemas.microsoft.com/office/drawing/2014/main" id="{98C0A169-A00F-4D40-8022-D66C231EE0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19361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1EBB1587-AF66-486A-B319-BB8EE2424E2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13682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67487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F44F3CA0-7517-8F4F-AF71-A5895CED3C96}"/>
              </a:ext>
            </a:extLst>
          </p:cNvPr>
          <p:cNvGrpSpPr/>
          <p:nvPr userDrawn="1"/>
        </p:nvGrpSpPr>
        <p:grpSpPr>
          <a:xfrm>
            <a:off x="-12701" y="0"/>
            <a:ext cx="4655358" cy="6858000"/>
            <a:chOff x="-756458" y="0"/>
            <a:chExt cx="4655357" cy="6858000"/>
          </a:xfrm>
          <a:solidFill>
            <a:schemeClr val="accent4"/>
          </a:solidFill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A766C2A-B08D-9F43-840E-38F5BC7BC304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68580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09CD035-180A-0741-A5FA-BF96C110231A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6" name="Subtítulo 2">
            <a:extLst>
              <a:ext uri="{FF2B5EF4-FFF2-40B4-BE49-F238E27FC236}">
                <a16:creationId xmlns:a16="http://schemas.microsoft.com/office/drawing/2014/main" id="{AF9BA34A-7FF8-4995-9217-09BBB6526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985" y="2115976"/>
            <a:ext cx="2593022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s-ES" dirty="0"/>
              <a:t>Haga </a:t>
            </a:r>
            <a:r>
              <a:rPr lang="en-US" dirty="0"/>
              <a:t>Click to add a subtitl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8BAC8F4-287D-423D-999F-C4C983C334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986" y="873128"/>
            <a:ext cx="2107342" cy="113073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F3B9D313-2516-4CAE-86F3-95C2C33742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981" y="273933"/>
            <a:ext cx="1031951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123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19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F44F3CA0-7517-8F4F-AF71-A5895CED3C96}"/>
              </a:ext>
            </a:extLst>
          </p:cNvPr>
          <p:cNvGrpSpPr/>
          <p:nvPr userDrawn="1"/>
        </p:nvGrpSpPr>
        <p:grpSpPr>
          <a:xfrm>
            <a:off x="4800602" y="0"/>
            <a:ext cx="7391399" cy="6858000"/>
            <a:chOff x="-756458" y="0"/>
            <a:chExt cx="4655357" cy="6858000"/>
          </a:xfrm>
          <a:solidFill>
            <a:schemeClr val="accent4"/>
          </a:solidFill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A766C2A-B08D-9F43-840E-38F5BC7BC304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68580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09CD035-180A-0741-A5FA-BF96C110231A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6" name="Subtítulo 2">
            <a:extLst>
              <a:ext uri="{FF2B5EF4-FFF2-40B4-BE49-F238E27FC236}">
                <a16:creationId xmlns:a16="http://schemas.microsoft.com/office/drawing/2014/main" id="{AF9BA34A-7FF8-4995-9217-09BBB6526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985" y="2115976"/>
            <a:ext cx="2593022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s-ES" dirty="0"/>
              <a:t>Haga </a:t>
            </a:r>
            <a:r>
              <a:rPr lang="en-US" dirty="0"/>
              <a:t>Click to add a subtitl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8BAC8F4-287D-423D-999F-C4C983C334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985" y="873128"/>
            <a:ext cx="2040435" cy="113073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101234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CD7C8FD9-0F64-E105-AD01-1E7232278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"/>
            <a:ext cx="12192000" cy="6857531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286D69F9-71BD-9003-8D06-90DB4A19F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Gráfico 20">
            <a:extLst>
              <a:ext uri="{FF2B5EF4-FFF2-40B4-BE49-F238E27FC236}">
                <a16:creationId xmlns:a16="http://schemas.microsoft.com/office/drawing/2014/main" id="{F3A5A4CB-DF0B-8DF6-EDF3-C701B5F0E494}"/>
              </a:ext>
            </a:extLst>
          </p:cNvPr>
          <p:cNvSpPr/>
          <p:nvPr userDrawn="1"/>
        </p:nvSpPr>
        <p:spPr>
          <a:xfrm>
            <a:off x="9424988" y="573088"/>
            <a:ext cx="2189162" cy="592518"/>
          </a:xfrm>
          <a:custGeom>
            <a:avLst/>
            <a:gdLst>
              <a:gd name="connsiteX0" fmla="*/ 391413 w 1715044"/>
              <a:gd name="connsiteY0" fmla="*/ 400655 h 464193"/>
              <a:gd name="connsiteX1" fmla="*/ 339050 w 1715044"/>
              <a:gd name="connsiteY1" fmla="*/ 400655 h 464193"/>
              <a:gd name="connsiteX2" fmla="*/ 329223 w 1715044"/>
              <a:gd name="connsiteY2" fmla="*/ 429284 h 464193"/>
              <a:gd name="connsiteX3" fmla="*/ 316682 w 1715044"/>
              <a:gd name="connsiteY3" fmla="*/ 429284 h 464193"/>
              <a:gd name="connsiteX4" fmla="*/ 357515 w 1715044"/>
              <a:gd name="connsiteY4" fmla="*/ 312708 h 464193"/>
              <a:gd name="connsiteX5" fmla="*/ 372433 w 1715044"/>
              <a:gd name="connsiteY5" fmla="*/ 311183 h 464193"/>
              <a:gd name="connsiteX6" fmla="*/ 413781 w 1715044"/>
              <a:gd name="connsiteY6" fmla="*/ 429284 h 464193"/>
              <a:gd name="connsiteX7" fmla="*/ 401240 w 1715044"/>
              <a:gd name="connsiteY7" fmla="*/ 429284 h 464193"/>
              <a:gd name="connsiteX8" fmla="*/ 391413 w 1715044"/>
              <a:gd name="connsiteY8" fmla="*/ 400655 h 464193"/>
              <a:gd name="connsiteX9" fmla="*/ 387688 w 1715044"/>
              <a:gd name="connsiteY9" fmla="*/ 389462 h 464193"/>
              <a:gd name="connsiteX10" fmla="*/ 365320 w 1715044"/>
              <a:gd name="connsiteY10" fmla="*/ 323546 h 464193"/>
              <a:gd name="connsiteX11" fmla="*/ 342793 w 1715044"/>
              <a:gd name="connsiteY11" fmla="*/ 389462 h 464193"/>
              <a:gd name="connsiteX12" fmla="*/ 387688 w 1715044"/>
              <a:gd name="connsiteY12" fmla="*/ 389462 h 464193"/>
              <a:gd name="connsiteX13" fmla="*/ 421231 w 1715044"/>
              <a:gd name="connsiteY13" fmla="*/ 424708 h 464193"/>
              <a:gd name="connsiteX14" fmla="*/ 422934 w 1715044"/>
              <a:gd name="connsiteY14" fmla="*/ 414366 h 464193"/>
              <a:gd name="connsiteX15" fmla="*/ 450553 w 1715044"/>
              <a:gd name="connsiteY15" fmla="*/ 420983 h 464193"/>
              <a:gd name="connsiteX16" fmla="*/ 471555 w 1715044"/>
              <a:gd name="connsiteY16" fmla="*/ 407253 h 464193"/>
              <a:gd name="connsiteX17" fmla="*/ 454100 w 1715044"/>
              <a:gd name="connsiteY17" fmla="*/ 390987 h 464193"/>
              <a:gd name="connsiteX18" fmla="*/ 446313 w 1715044"/>
              <a:gd name="connsiteY18" fmla="*/ 388610 h 464193"/>
              <a:gd name="connsiteX19" fmla="*/ 422934 w 1715044"/>
              <a:gd name="connsiteY19" fmla="*/ 362854 h 464193"/>
              <a:gd name="connsiteX20" fmla="*/ 453604 w 1715044"/>
              <a:gd name="connsiteY20" fmla="*/ 339812 h 464193"/>
              <a:gd name="connsiteX21" fmla="*/ 480371 w 1715044"/>
              <a:gd name="connsiteY21" fmla="*/ 344211 h 464193"/>
              <a:gd name="connsiteX22" fmla="*/ 478668 w 1715044"/>
              <a:gd name="connsiteY22" fmla="*/ 354216 h 464193"/>
              <a:gd name="connsiteX23" fmla="*/ 453923 w 1715044"/>
              <a:gd name="connsiteY23" fmla="*/ 349976 h 464193"/>
              <a:gd name="connsiteX24" fmla="*/ 434269 w 1715044"/>
              <a:gd name="connsiteY24" fmla="*/ 362517 h 464193"/>
              <a:gd name="connsiteX25" fmla="*/ 451386 w 1715044"/>
              <a:gd name="connsiteY25" fmla="*/ 378446 h 464193"/>
              <a:gd name="connsiteX26" fmla="*/ 459351 w 1715044"/>
              <a:gd name="connsiteY26" fmla="*/ 381160 h 464193"/>
              <a:gd name="connsiteX27" fmla="*/ 483067 w 1715044"/>
              <a:gd name="connsiteY27" fmla="*/ 406916 h 464193"/>
              <a:gd name="connsiteX28" fmla="*/ 450872 w 1715044"/>
              <a:gd name="connsiteY28" fmla="*/ 431306 h 464193"/>
              <a:gd name="connsiteX29" fmla="*/ 421231 w 1715044"/>
              <a:gd name="connsiteY29" fmla="*/ 424708 h 464193"/>
              <a:gd name="connsiteX30" fmla="*/ 495271 w 1715044"/>
              <a:gd name="connsiteY30" fmla="*/ 424708 h 464193"/>
              <a:gd name="connsiteX31" fmla="*/ 496974 w 1715044"/>
              <a:gd name="connsiteY31" fmla="*/ 414366 h 464193"/>
              <a:gd name="connsiteX32" fmla="*/ 524592 w 1715044"/>
              <a:gd name="connsiteY32" fmla="*/ 420983 h 464193"/>
              <a:gd name="connsiteX33" fmla="*/ 545594 w 1715044"/>
              <a:gd name="connsiteY33" fmla="*/ 407253 h 464193"/>
              <a:gd name="connsiteX34" fmla="*/ 528140 w 1715044"/>
              <a:gd name="connsiteY34" fmla="*/ 390987 h 464193"/>
              <a:gd name="connsiteX35" fmla="*/ 520353 w 1715044"/>
              <a:gd name="connsiteY35" fmla="*/ 388610 h 464193"/>
              <a:gd name="connsiteX36" fmla="*/ 496974 w 1715044"/>
              <a:gd name="connsiteY36" fmla="*/ 362854 h 464193"/>
              <a:gd name="connsiteX37" fmla="*/ 527643 w 1715044"/>
              <a:gd name="connsiteY37" fmla="*/ 339812 h 464193"/>
              <a:gd name="connsiteX38" fmla="*/ 554410 w 1715044"/>
              <a:gd name="connsiteY38" fmla="*/ 344211 h 464193"/>
              <a:gd name="connsiteX39" fmla="*/ 552708 w 1715044"/>
              <a:gd name="connsiteY39" fmla="*/ 354216 h 464193"/>
              <a:gd name="connsiteX40" fmla="*/ 527963 w 1715044"/>
              <a:gd name="connsiteY40" fmla="*/ 349976 h 464193"/>
              <a:gd name="connsiteX41" fmla="*/ 508309 w 1715044"/>
              <a:gd name="connsiteY41" fmla="*/ 362517 h 464193"/>
              <a:gd name="connsiteX42" fmla="*/ 525426 w 1715044"/>
              <a:gd name="connsiteY42" fmla="*/ 378446 h 464193"/>
              <a:gd name="connsiteX43" fmla="*/ 533391 w 1715044"/>
              <a:gd name="connsiteY43" fmla="*/ 381160 h 464193"/>
              <a:gd name="connsiteX44" fmla="*/ 557107 w 1715044"/>
              <a:gd name="connsiteY44" fmla="*/ 406916 h 464193"/>
              <a:gd name="connsiteX45" fmla="*/ 524912 w 1715044"/>
              <a:gd name="connsiteY45" fmla="*/ 431306 h 464193"/>
              <a:gd name="connsiteX46" fmla="*/ 495271 w 1715044"/>
              <a:gd name="connsiteY46" fmla="*/ 424708 h 464193"/>
              <a:gd name="connsiteX47" fmla="*/ 642854 w 1715044"/>
              <a:gd name="connsiteY47" fmla="*/ 389639 h 464193"/>
              <a:gd name="connsiteX48" fmla="*/ 580166 w 1715044"/>
              <a:gd name="connsiteY48" fmla="*/ 389639 h 464193"/>
              <a:gd name="connsiteX49" fmla="*/ 611687 w 1715044"/>
              <a:gd name="connsiteY49" fmla="*/ 420823 h 464193"/>
              <a:gd name="connsiteX50" fmla="*/ 640157 w 1715044"/>
              <a:gd name="connsiteY50" fmla="*/ 413533 h 464193"/>
              <a:gd name="connsiteX51" fmla="*/ 638295 w 1715044"/>
              <a:gd name="connsiteY51" fmla="*/ 424885 h 464193"/>
              <a:gd name="connsiteX52" fmla="*/ 611350 w 1715044"/>
              <a:gd name="connsiteY52" fmla="*/ 431324 h 464193"/>
              <a:gd name="connsiteX53" fmla="*/ 568140 w 1715044"/>
              <a:gd name="connsiteY53" fmla="*/ 385063 h 464193"/>
              <a:gd name="connsiteX54" fmla="*/ 607288 w 1715044"/>
              <a:gd name="connsiteY54" fmla="*/ 339830 h 464193"/>
              <a:gd name="connsiteX55" fmla="*/ 643545 w 1715044"/>
              <a:gd name="connsiteY55" fmla="*/ 379138 h 464193"/>
              <a:gd name="connsiteX56" fmla="*/ 642854 w 1715044"/>
              <a:gd name="connsiteY56" fmla="*/ 389639 h 464193"/>
              <a:gd name="connsiteX57" fmla="*/ 580166 w 1715044"/>
              <a:gd name="connsiteY57" fmla="*/ 378961 h 464193"/>
              <a:gd name="connsiteX58" fmla="*/ 631678 w 1715044"/>
              <a:gd name="connsiteY58" fmla="*/ 378961 h 464193"/>
              <a:gd name="connsiteX59" fmla="*/ 631678 w 1715044"/>
              <a:gd name="connsiteY59" fmla="*/ 378287 h 464193"/>
              <a:gd name="connsiteX60" fmla="*/ 606774 w 1715044"/>
              <a:gd name="connsiteY60" fmla="*/ 350154 h 464193"/>
              <a:gd name="connsiteX61" fmla="*/ 580166 w 1715044"/>
              <a:gd name="connsiteY61" fmla="*/ 378961 h 464193"/>
              <a:gd name="connsiteX62" fmla="*/ 704193 w 1715044"/>
              <a:gd name="connsiteY62" fmla="*/ 418446 h 464193"/>
              <a:gd name="connsiteX63" fmla="*/ 702667 w 1715044"/>
              <a:gd name="connsiteY63" fmla="*/ 428610 h 464193"/>
              <a:gd name="connsiteX64" fmla="*/ 687412 w 1715044"/>
              <a:gd name="connsiteY64" fmla="*/ 431324 h 464193"/>
              <a:gd name="connsiteX65" fmla="*/ 661142 w 1715044"/>
              <a:gd name="connsiteY65" fmla="*/ 404220 h 464193"/>
              <a:gd name="connsiteX66" fmla="*/ 661142 w 1715044"/>
              <a:gd name="connsiteY66" fmla="*/ 312903 h 464193"/>
              <a:gd name="connsiteX67" fmla="*/ 673009 w 1715044"/>
              <a:gd name="connsiteY67" fmla="*/ 311041 h 464193"/>
              <a:gd name="connsiteX68" fmla="*/ 673009 w 1715044"/>
              <a:gd name="connsiteY68" fmla="*/ 342384 h 464193"/>
              <a:gd name="connsiteX69" fmla="*/ 703678 w 1715044"/>
              <a:gd name="connsiteY69" fmla="*/ 342384 h 464193"/>
              <a:gd name="connsiteX70" fmla="*/ 702490 w 1715044"/>
              <a:gd name="connsiteY70" fmla="*/ 353063 h 464193"/>
              <a:gd name="connsiteX71" fmla="*/ 673009 w 1715044"/>
              <a:gd name="connsiteY71" fmla="*/ 353063 h 464193"/>
              <a:gd name="connsiteX72" fmla="*/ 673009 w 1715044"/>
              <a:gd name="connsiteY72" fmla="*/ 402872 h 464193"/>
              <a:gd name="connsiteX73" fmla="*/ 689452 w 1715044"/>
              <a:gd name="connsiteY73" fmla="*/ 421178 h 464193"/>
              <a:gd name="connsiteX74" fmla="*/ 704193 w 1715044"/>
              <a:gd name="connsiteY74" fmla="*/ 418446 h 464193"/>
              <a:gd name="connsiteX75" fmla="*/ 870241 w 1715044"/>
              <a:gd name="connsiteY75" fmla="*/ 429284 h 464193"/>
              <a:gd name="connsiteX76" fmla="*/ 857877 w 1715044"/>
              <a:gd name="connsiteY76" fmla="*/ 429284 h 464193"/>
              <a:gd name="connsiteX77" fmla="*/ 854312 w 1715044"/>
              <a:gd name="connsiteY77" fmla="*/ 376247 h 464193"/>
              <a:gd name="connsiteX78" fmla="*/ 851935 w 1715044"/>
              <a:gd name="connsiteY78" fmla="*/ 328797 h 464193"/>
              <a:gd name="connsiteX79" fmla="*/ 832103 w 1715044"/>
              <a:gd name="connsiteY79" fmla="*/ 380468 h 464193"/>
              <a:gd name="connsiteX80" fmla="*/ 812449 w 1715044"/>
              <a:gd name="connsiteY80" fmla="*/ 429266 h 464193"/>
              <a:gd name="connsiteX81" fmla="*/ 803474 w 1715044"/>
              <a:gd name="connsiteY81" fmla="*/ 429266 h 464193"/>
              <a:gd name="connsiteX82" fmla="*/ 782472 w 1715044"/>
              <a:gd name="connsiteY82" fmla="*/ 375892 h 464193"/>
              <a:gd name="connsiteX83" fmla="*/ 764858 w 1715044"/>
              <a:gd name="connsiteY83" fmla="*/ 328956 h 464193"/>
              <a:gd name="connsiteX84" fmla="*/ 761984 w 1715044"/>
              <a:gd name="connsiteY84" fmla="*/ 377240 h 464193"/>
              <a:gd name="connsiteX85" fmla="*/ 757922 w 1715044"/>
              <a:gd name="connsiteY85" fmla="*/ 429249 h 464193"/>
              <a:gd name="connsiteX86" fmla="*/ 745718 w 1715044"/>
              <a:gd name="connsiteY86" fmla="*/ 429249 h 464193"/>
              <a:gd name="connsiteX87" fmla="*/ 754871 w 1715044"/>
              <a:gd name="connsiteY87" fmla="*/ 312673 h 464193"/>
              <a:gd name="connsiteX88" fmla="*/ 769434 w 1715044"/>
              <a:gd name="connsiteY88" fmla="*/ 310810 h 464193"/>
              <a:gd name="connsiteX89" fmla="*/ 808228 w 1715044"/>
              <a:gd name="connsiteY89" fmla="*/ 410606 h 464193"/>
              <a:gd name="connsiteX90" fmla="*/ 846525 w 1715044"/>
              <a:gd name="connsiteY90" fmla="*/ 312673 h 464193"/>
              <a:gd name="connsiteX91" fmla="*/ 861443 w 1715044"/>
              <a:gd name="connsiteY91" fmla="*/ 310810 h 464193"/>
              <a:gd name="connsiteX92" fmla="*/ 870241 w 1715044"/>
              <a:gd name="connsiteY92" fmla="*/ 429284 h 464193"/>
              <a:gd name="connsiteX93" fmla="*/ 960369 w 1715044"/>
              <a:gd name="connsiteY93" fmla="*/ 344566 h 464193"/>
              <a:gd name="connsiteX94" fmla="*/ 960369 w 1715044"/>
              <a:gd name="connsiteY94" fmla="*/ 429284 h 464193"/>
              <a:gd name="connsiteX95" fmla="*/ 949354 w 1715044"/>
              <a:gd name="connsiteY95" fmla="*/ 429284 h 464193"/>
              <a:gd name="connsiteX96" fmla="*/ 949016 w 1715044"/>
              <a:gd name="connsiteY96" fmla="*/ 422686 h 464193"/>
              <a:gd name="connsiteX97" fmla="*/ 925974 w 1715044"/>
              <a:gd name="connsiteY97" fmla="*/ 431324 h 464193"/>
              <a:gd name="connsiteX98" fmla="*/ 887003 w 1715044"/>
              <a:gd name="connsiteY98" fmla="*/ 386251 h 464193"/>
              <a:gd name="connsiteX99" fmla="*/ 932076 w 1715044"/>
              <a:gd name="connsiteY99" fmla="*/ 339830 h 464193"/>
              <a:gd name="connsiteX100" fmla="*/ 960369 w 1715044"/>
              <a:gd name="connsiteY100" fmla="*/ 344566 h 464193"/>
              <a:gd name="connsiteX101" fmla="*/ 927003 w 1715044"/>
              <a:gd name="connsiteY101" fmla="*/ 421497 h 464193"/>
              <a:gd name="connsiteX102" fmla="*/ 948520 w 1715044"/>
              <a:gd name="connsiteY102" fmla="*/ 412859 h 464193"/>
              <a:gd name="connsiteX103" fmla="*/ 948520 w 1715044"/>
              <a:gd name="connsiteY103" fmla="*/ 352371 h 464193"/>
              <a:gd name="connsiteX104" fmla="*/ 932076 w 1715044"/>
              <a:gd name="connsiteY104" fmla="*/ 350331 h 464193"/>
              <a:gd name="connsiteX105" fmla="*/ 899030 w 1715044"/>
              <a:gd name="connsiteY105" fmla="*/ 386251 h 464193"/>
              <a:gd name="connsiteX106" fmla="*/ 927003 w 1715044"/>
              <a:gd name="connsiteY106" fmla="*/ 421497 h 464193"/>
              <a:gd name="connsiteX107" fmla="*/ 1053566 w 1715044"/>
              <a:gd name="connsiteY107" fmla="*/ 372007 h 464193"/>
              <a:gd name="connsiteX108" fmla="*/ 1053566 w 1715044"/>
              <a:gd name="connsiteY108" fmla="*/ 429284 h 464193"/>
              <a:gd name="connsiteX109" fmla="*/ 1041699 w 1715044"/>
              <a:gd name="connsiteY109" fmla="*/ 429284 h 464193"/>
              <a:gd name="connsiteX110" fmla="*/ 1041699 w 1715044"/>
              <a:gd name="connsiteY110" fmla="*/ 374225 h 464193"/>
              <a:gd name="connsiteX111" fmla="*/ 1014932 w 1715044"/>
              <a:gd name="connsiteY111" fmla="*/ 350331 h 464193"/>
              <a:gd name="connsiteX112" fmla="*/ 995278 w 1715044"/>
              <a:gd name="connsiteY112" fmla="*/ 352708 h 464193"/>
              <a:gd name="connsiteX113" fmla="*/ 995278 w 1715044"/>
              <a:gd name="connsiteY113" fmla="*/ 429284 h 464193"/>
              <a:gd name="connsiteX114" fmla="*/ 983411 w 1715044"/>
              <a:gd name="connsiteY114" fmla="*/ 429284 h 464193"/>
              <a:gd name="connsiteX115" fmla="*/ 983411 w 1715044"/>
              <a:gd name="connsiteY115" fmla="*/ 344566 h 464193"/>
              <a:gd name="connsiteX116" fmla="*/ 1015269 w 1715044"/>
              <a:gd name="connsiteY116" fmla="*/ 339830 h 464193"/>
              <a:gd name="connsiteX117" fmla="*/ 1053566 w 1715044"/>
              <a:gd name="connsiteY117" fmla="*/ 372007 h 464193"/>
              <a:gd name="connsiteX118" fmla="*/ 1144386 w 1715044"/>
              <a:gd name="connsiteY118" fmla="*/ 344566 h 464193"/>
              <a:gd name="connsiteX119" fmla="*/ 1144386 w 1715044"/>
              <a:gd name="connsiteY119" fmla="*/ 429284 h 464193"/>
              <a:gd name="connsiteX120" fmla="*/ 1133371 w 1715044"/>
              <a:gd name="connsiteY120" fmla="*/ 429284 h 464193"/>
              <a:gd name="connsiteX121" fmla="*/ 1133034 w 1715044"/>
              <a:gd name="connsiteY121" fmla="*/ 422686 h 464193"/>
              <a:gd name="connsiteX122" fmla="*/ 1109992 w 1715044"/>
              <a:gd name="connsiteY122" fmla="*/ 431324 h 464193"/>
              <a:gd name="connsiteX123" fmla="*/ 1071020 w 1715044"/>
              <a:gd name="connsiteY123" fmla="*/ 386251 h 464193"/>
              <a:gd name="connsiteX124" fmla="*/ 1116094 w 1715044"/>
              <a:gd name="connsiteY124" fmla="*/ 339830 h 464193"/>
              <a:gd name="connsiteX125" fmla="*/ 1144386 w 1715044"/>
              <a:gd name="connsiteY125" fmla="*/ 344566 h 464193"/>
              <a:gd name="connsiteX126" fmla="*/ 1111003 w 1715044"/>
              <a:gd name="connsiteY126" fmla="*/ 421497 h 464193"/>
              <a:gd name="connsiteX127" fmla="*/ 1132519 w 1715044"/>
              <a:gd name="connsiteY127" fmla="*/ 412859 h 464193"/>
              <a:gd name="connsiteX128" fmla="*/ 1132519 w 1715044"/>
              <a:gd name="connsiteY128" fmla="*/ 352371 h 464193"/>
              <a:gd name="connsiteX129" fmla="*/ 1116094 w 1715044"/>
              <a:gd name="connsiteY129" fmla="*/ 350331 h 464193"/>
              <a:gd name="connsiteX130" fmla="*/ 1083047 w 1715044"/>
              <a:gd name="connsiteY130" fmla="*/ 386251 h 464193"/>
              <a:gd name="connsiteX131" fmla="*/ 1111003 w 1715044"/>
              <a:gd name="connsiteY131" fmla="*/ 421497 h 464193"/>
              <a:gd name="connsiteX132" fmla="*/ 1236217 w 1715044"/>
              <a:gd name="connsiteY132" fmla="*/ 344566 h 464193"/>
              <a:gd name="connsiteX133" fmla="*/ 1236217 w 1715044"/>
              <a:gd name="connsiteY133" fmla="*/ 426074 h 464193"/>
              <a:gd name="connsiteX134" fmla="*/ 1195561 w 1715044"/>
              <a:gd name="connsiteY134" fmla="*/ 464193 h 464193"/>
              <a:gd name="connsiteX135" fmla="*/ 1170142 w 1715044"/>
              <a:gd name="connsiteY135" fmla="*/ 459280 h 464193"/>
              <a:gd name="connsiteX136" fmla="*/ 1171331 w 1715044"/>
              <a:gd name="connsiteY136" fmla="*/ 448779 h 464193"/>
              <a:gd name="connsiteX137" fmla="*/ 1195561 w 1715044"/>
              <a:gd name="connsiteY137" fmla="*/ 454029 h 464193"/>
              <a:gd name="connsiteX138" fmla="*/ 1224368 w 1715044"/>
              <a:gd name="connsiteY138" fmla="*/ 427599 h 464193"/>
              <a:gd name="connsiteX139" fmla="*/ 1224368 w 1715044"/>
              <a:gd name="connsiteY139" fmla="*/ 423023 h 464193"/>
              <a:gd name="connsiteX140" fmla="*/ 1201840 w 1715044"/>
              <a:gd name="connsiteY140" fmla="*/ 431324 h 464193"/>
              <a:gd name="connsiteX141" fmla="*/ 1162869 w 1715044"/>
              <a:gd name="connsiteY141" fmla="*/ 386251 h 464193"/>
              <a:gd name="connsiteX142" fmla="*/ 1207942 w 1715044"/>
              <a:gd name="connsiteY142" fmla="*/ 339830 h 464193"/>
              <a:gd name="connsiteX143" fmla="*/ 1236217 w 1715044"/>
              <a:gd name="connsiteY143" fmla="*/ 344566 h 464193"/>
              <a:gd name="connsiteX144" fmla="*/ 1224350 w 1715044"/>
              <a:gd name="connsiteY144" fmla="*/ 412841 h 464193"/>
              <a:gd name="connsiteX145" fmla="*/ 1224350 w 1715044"/>
              <a:gd name="connsiteY145" fmla="*/ 352353 h 464193"/>
              <a:gd name="connsiteX146" fmla="*/ 1207907 w 1715044"/>
              <a:gd name="connsiteY146" fmla="*/ 350313 h 464193"/>
              <a:gd name="connsiteX147" fmla="*/ 1174860 w 1715044"/>
              <a:gd name="connsiteY147" fmla="*/ 386233 h 464193"/>
              <a:gd name="connsiteX148" fmla="*/ 1202816 w 1715044"/>
              <a:gd name="connsiteY148" fmla="*/ 421479 h 464193"/>
              <a:gd name="connsiteX149" fmla="*/ 1224350 w 1715044"/>
              <a:gd name="connsiteY149" fmla="*/ 412841 h 464193"/>
              <a:gd name="connsiteX150" fmla="*/ 1325352 w 1715044"/>
              <a:gd name="connsiteY150" fmla="*/ 389639 h 464193"/>
              <a:gd name="connsiteX151" fmla="*/ 1262665 w 1715044"/>
              <a:gd name="connsiteY151" fmla="*/ 389639 h 464193"/>
              <a:gd name="connsiteX152" fmla="*/ 1294186 w 1715044"/>
              <a:gd name="connsiteY152" fmla="*/ 420823 h 464193"/>
              <a:gd name="connsiteX153" fmla="*/ 1322656 w 1715044"/>
              <a:gd name="connsiteY153" fmla="*/ 413533 h 464193"/>
              <a:gd name="connsiteX154" fmla="*/ 1320793 w 1715044"/>
              <a:gd name="connsiteY154" fmla="*/ 424885 h 464193"/>
              <a:gd name="connsiteX155" fmla="*/ 1293849 w 1715044"/>
              <a:gd name="connsiteY155" fmla="*/ 431324 h 464193"/>
              <a:gd name="connsiteX156" fmla="*/ 1250638 w 1715044"/>
              <a:gd name="connsiteY156" fmla="*/ 385063 h 464193"/>
              <a:gd name="connsiteX157" fmla="*/ 1289769 w 1715044"/>
              <a:gd name="connsiteY157" fmla="*/ 339830 h 464193"/>
              <a:gd name="connsiteX158" fmla="*/ 1326026 w 1715044"/>
              <a:gd name="connsiteY158" fmla="*/ 379138 h 464193"/>
              <a:gd name="connsiteX159" fmla="*/ 1325352 w 1715044"/>
              <a:gd name="connsiteY159" fmla="*/ 389639 h 464193"/>
              <a:gd name="connsiteX160" fmla="*/ 1262647 w 1715044"/>
              <a:gd name="connsiteY160" fmla="*/ 378961 h 464193"/>
              <a:gd name="connsiteX161" fmla="*/ 1314159 w 1715044"/>
              <a:gd name="connsiteY161" fmla="*/ 378961 h 464193"/>
              <a:gd name="connsiteX162" fmla="*/ 1314159 w 1715044"/>
              <a:gd name="connsiteY162" fmla="*/ 378287 h 464193"/>
              <a:gd name="connsiteX163" fmla="*/ 1289255 w 1715044"/>
              <a:gd name="connsiteY163" fmla="*/ 350154 h 464193"/>
              <a:gd name="connsiteX164" fmla="*/ 1262647 w 1715044"/>
              <a:gd name="connsiteY164" fmla="*/ 378961 h 464193"/>
              <a:gd name="connsiteX165" fmla="*/ 1470043 w 1715044"/>
              <a:gd name="connsiteY165" fmla="*/ 372007 h 464193"/>
              <a:gd name="connsiteX166" fmla="*/ 1470043 w 1715044"/>
              <a:gd name="connsiteY166" fmla="*/ 429284 h 464193"/>
              <a:gd name="connsiteX167" fmla="*/ 1458176 w 1715044"/>
              <a:gd name="connsiteY167" fmla="*/ 429284 h 464193"/>
              <a:gd name="connsiteX168" fmla="*/ 1458176 w 1715044"/>
              <a:gd name="connsiteY168" fmla="*/ 373888 h 464193"/>
              <a:gd name="connsiteX169" fmla="*/ 1433272 w 1715044"/>
              <a:gd name="connsiteY169" fmla="*/ 350331 h 464193"/>
              <a:gd name="connsiteX170" fmla="*/ 1410744 w 1715044"/>
              <a:gd name="connsiteY170" fmla="*/ 355245 h 464193"/>
              <a:gd name="connsiteX171" fmla="*/ 1413618 w 1715044"/>
              <a:gd name="connsiteY171" fmla="*/ 372025 h 464193"/>
              <a:gd name="connsiteX172" fmla="*/ 1413618 w 1715044"/>
              <a:gd name="connsiteY172" fmla="*/ 429302 h 464193"/>
              <a:gd name="connsiteX173" fmla="*/ 1401751 w 1715044"/>
              <a:gd name="connsiteY173" fmla="*/ 429302 h 464193"/>
              <a:gd name="connsiteX174" fmla="*/ 1401751 w 1715044"/>
              <a:gd name="connsiteY174" fmla="*/ 373550 h 464193"/>
              <a:gd name="connsiteX175" fmla="*/ 1376846 w 1715044"/>
              <a:gd name="connsiteY175" fmla="*/ 350331 h 464193"/>
              <a:gd name="connsiteX176" fmla="*/ 1356518 w 1715044"/>
              <a:gd name="connsiteY176" fmla="*/ 352708 h 464193"/>
              <a:gd name="connsiteX177" fmla="*/ 1356518 w 1715044"/>
              <a:gd name="connsiteY177" fmla="*/ 429284 h 464193"/>
              <a:gd name="connsiteX178" fmla="*/ 1344651 w 1715044"/>
              <a:gd name="connsiteY178" fmla="*/ 429284 h 464193"/>
              <a:gd name="connsiteX179" fmla="*/ 1344651 w 1715044"/>
              <a:gd name="connsiteY179" fmla="*/ 344566 h 464193"/>
              <a:gd name="connsiteX180" fmla="*/ 1378035 w 1715044"/>
              <a:gd name="connsiteY180" fmla="*/ 339830 h 464193"/>
              <a:gd name="connsiteX181" fmla="*/ 1404642 w 1715044"/>
              <a:gd name="connsiteY181" fmla="*/ 346943 h 464193"/>
              <a:gd name="connsiteX182" fmla="*/ 1434301 w 1715044"/>
              <a:gd name="connsiteY182" fmla="*/ 339830 h 464193"/>
              <a:gd name="connsiteX183" fmla="*/ 1470043 w 1715044"/>
              <a:gd name="connsiteY183" fmla="*/ 372007 h 464193"/>
              <a:gd name="connsiteX184" fmla="*/ 1561538 w 1715044"/>
              <a:gd name="connsiteY184" fmla="*/ 389639 h 464193"/>
              <a:gd name="connsiteX185" fmla="*/ 1498850 w 1715044"/>
              <a:gd name="connsiteY185" fmla="*/ 389639 h 464193"/>
              <a:gd name="connsiteX186" fmla="*/ 1530371 w 1715044"/>
              <a:gd name="connsiteY186" fmla="*/ 420823 h 464193"/>
              <a:gd name="connsiteX187" fmla="*/ 1558841 w 1715044"/>
              <a:gd name="connsiteY187" fmla="*/ 413533 h 464193"/>
              <a:gd name="connsiteX188" fmla="*/ 1556979 w 1715044"/>
              <a:gd name="connsiteY188" fmla="*/ 424885 h 464193"/>
              <a:gd name="connsiteX189" fmla="*/ 1530034 w 1715044"/>
              <a:gd name="connsiteY189" fmla="*/ 431324 h 464193"/>
              <a:gd name="connsiteX190" fmla="*/ 1486824 w 1715044"/>
              <a:gd name="connsiteY190" fmla="*/ 385063 h 464193"/>
              <a:gd name="connsiteX191" fmla="*/ 1525972 w 1715044"/>
              <a:gd name="connsiteY191" fmla="*/ 339830 h 464193"/>
              <a:gd name="connsiteX192" fmla="*/ 1562229 w 1715044"/>
              <a:gd name="connsiteY192" fmla="*/ 379138 h 464193"/>
              <a:gd name="connsiteX193" fmla="*/ 1561538 w 1715044"/>
              <a:gd name="connsiteY193" fmla="*/ 389639 h 464193"/>
              <a:gd name="connsiteX194" fmla="*/ 1498850 w 1715044"/>
              <a:gd name="connsiteY194" fmla="*/ 378961 h 464193"/>
              <a:gd name="connsiteX195" fmla="*/ 1550362 w 1715044"/>
              <a:gd name="connsiteY195" fmla="*/ 378961 h 464193"/>
              <a:gd name="connsiteX196" fmla="*/ 1550362 w 1715044"/>
              <a:gd name="connsiteY196" fmla="*/ 378287 h 464193"/>
              <a:gd name="connsiteX197" fmla="*/ 1525458 w 1715044"/>
              <a:gd name="connsiteY197" fmla="*/ 350154 h 464193"/>
              <a:gd name="connsiteX198" fmla="*/ 1498850 w 1715044"/>
              <a:gd name="connsiteY198" fmla="*/ 378961 h 464193"/>
              <a:gd name="connsiteX199" fmla="*/ 1650992 w 1715044"/>
              <a:gd name="connsiteY199" fmla="*/ 372007 h 464193"/>
              <a:gd name="connsiteX200" fmla="*/ 1650992 w 1715044"/>
              <a:gd name="connsiteY200" fmla="*/ 429284 h 464193"/>
              <a:gd name="connsiteX201" fmla="*/ 1639125 w 1715044"/>
              <a:gd name="connsiteY201" fmla="*/ 429284 h 464193"/>
              <a:gd name="connsiteX202" fmla="*/ 1639125 w 1715044"/>
              <a:gd name="connsiteY202" fmla="*/ 374225 h 464193"/>
              <a:gd name="connsiteX203" fmla="*/ 1612358 w 1715044"/>
              <a:gd name="connsiteY203" fmla="*/ 350331 h 464193"/>
              <a:gd name="connsiteX204" fmla="*/ 1592704 w 1715044"/>
              <a:gd name="connsiteY204" fmla="*/ 352708 h 464193"/>
              <a:gd name="connsiteX205" fmla="*/ 1592704 w 1715044"/>
              <a:gd name="connsiteY205" fmla="*/ 429284 h 464193"/>
              <a:gd name="connsiteX206" fmla="*/ 1580837 w 1715044"/>
              <a:gd name="connsiteY206" fmla="*/ 429284 h 464193"/>
              <a:gd name="connsiteX207" fmla="*/ 1580837 w 1715044"/>
              <a:gd name="connsiteY207" fmla="*/ 344566 h 464193"/>
              <a:gd name="connsiteX208" fmla="*/ 1612695 w 1715044"/>
              <a:gd name="connsiteY208" fmla="*/ 339830 h 464193"/>
              <a:gd name="connsiteX209" fmla="*/ 1650992 w 1715044"/>
              <a:gd name="connsiteY209" fmla="*/ 372007 h 464193"/>
              <a:gd name="connsiteX210" fmla="*/ 1715045 w 1715044"/>
              <a:gd name="connsiteY210" fmla="*/ 418446 h 464193"/>
              <a:gd name="connsiteX211" fmla="*/ 1713519 w 1715044"/>
              <a:gd name="connsiteY211" fmla="*/ 428610 h 464193"/>
              <a:gd name="connsiteX212" fmla="*/ 1698264 w 1715044"/>
              <a:gd name="connsiteY212" fmla="*/ 431324 h 464193"/>
              <a:gd name="connsiteX213" fmla="*/ 1671994 w 1715044"/>
              <a:gd name="connsiteY213" fmla="*/ 404220 h 464193"/>
              <a:gd name="connsiteX214" fmla="*/ 1671994 w 1715044"/>
              <a:gd name="connsiteY214" fmla="*/ 312903 h 464193"/>
              <a:gd name="connsiteX215" fmla="*/ 1683861 w 1715044"/>
              <a:gd name="connsiteY215" fmla="*/ 311041 h 464193"/>
              <a:gd name="connsiteX216" fmla="*/ 1683861 w 1715044"/>
              <a:gd name="connsiteY216" fmla="*/ 342384 h 464193"/>
              <a:gd name="connsiteX217" fmla="*/ 1714530 w 1715044"/>
              <a:gd name="connsiteY217" fmla="*/ 342384 h 464193"/>
              <a:gd name="connsiteX218" fmla="*/ 1713342 w 1715044"/>
              <a:gd name="connsiteY218" fmla="*/ 353063 h 464193"/>
              <a:gd name="connsiteX219" fmla="*/ 1683861 w 1715044"/>
              <a:gd name="connsiteY219" fmla="*/ 353063 h 464193"/>
              <a:gd name="connsiteX220" fmla="*/ 1683861 w 1715044"/>
              <a:gd name="connsiteY220" fmla="*/ 402872 h 464193"/>
              <a:gd name="connsiteX221" fmla="*/ 1700304 w 1715044"/>
              <a:gd name="connsiteY221" fmla="*/ 421178 h 464193"/>
              <a:gd name="connsiteX222" fmla="*/ 1715045 w 1715044"/>
              <a:gd name="connsiteY222" fmla="*/ 418446 h 464193"/>
              <a:gd name="connsiteX223" fmla="*/ 190935 w 1715044"/>
              <a:gd name="connsiteY223" fmla="*/ 116097 h 464193"/>
              <a:gd name="connsiteX224" fmla="*/ 183254 w 1715044"/>
              <a:gd name="connsiteY224" fmla="*/ 89720 h 464193"/>
              <a:gd name="connsiteX225" fmla="*/ 141534 w 1715044"/>
              <a:gd name="connsiteY225" fmla="*/ 17472 h 464193"/>
              <a:gd name="connsiteX226" fmla="*/ 134935 w 1715044"/>
              <a:gd name="connsiteY226" fmla="*/ 0 h 464193"/>
              <a:gd name="connsiteX227" fmla="*/ 133197 w 1715044"/>
              <a:gd name="connsiteY227" fmla="*/ 3016 h 464193"/>
              <a:gd name="connsiteX228" fmla="*/ 133197 w 1715044"/>
              <a:gd name="connsiteY228" fmla="*/ 60807 h 464193"/>
              <a:gd name="connsiteX229" fmla="*/ 166563 w 1715044"/>
              <a:gd name="connsiteY229" fmla="*/ 118598 h 464193"/>
              <a:gd name="connsiteX230" fmla="*/ 166563 w 1715044"/>
              <a:gd name="connsiteY230" fmla="*/ 176389 h 464193"/>
              <a:gd name="connsiteX231" fmla="*/ 164824 w 1715044"/>
              <a:gd name="connsiteY231" fmla="*/ 179405 h 464193"/>
              <a:gd name="connsiteX232" fmla="*/ 158226 w 1715044"/>
              <a:gd name="connsiteY232" fmla="*/ 161933 h 464193"/>
              <a:gd name="connsiteX233" fmla="*/ 127680 w 1715044"/>
              <a:gd name="connsiteY233" fmla="*/ 109037 h 464193"/>
              <a:gd name="connsiteX234" fmla="*/ 108168 w 1715044"/>
              <a:gd name="connsiteY234" fmla="*/ 75264 h 464193"/>
              <a:gd name="connsiteX235" fmla="*/ 101569 w 1715044"/>
              <a:gd name="connsiteY235" fmla="*/ 57791 h 464193"/>
              <a:gd name="connsiteX236" fmla="*/ 99831 w 1715044"/>
              <a:gd name="connsiteY236" fmla="*/ 60807 h 464193"/>
              <a:gd name="connsiteX237" fmla="*/ 99725 w 1715044"/>
              <a:gd name="connsiteY237" fmla="*/ 118421 h 464193"/>
              <a:gd name="connsiteX238" fmla="*/ 99725 w 1715044"/>
              <a:gd name="connsiteY238" fmla="*/ 118421 h 464193"/>
              <a:gd name="connsiteX239" fmla="*/ 133197 w 1715044"/>
              <a:gd name="connsiteY239" fmla="*/ 176389 h 464193"/>
              <a:gd name="connsiteX240" fmla="*/ 133197 w 1715044"/>
              <a:gd name="connsiteY240" fmla="*/ 234181 h 464193"/>
              <a:gd name="connsiteX241" fmla="*/ 131459 w 1715044"/>
              <a:gd name="connsiteY241" fmla="*/ 237196 h 464193"/>
              <a:gd name="connsiteX242" fmla="*/ 124860 w 1715044"/>
              <a:gd name="connsiteY242" fmla="*/ 219724 h 464193"/>
              <a:gd name="connsiteX243" fmla="*/ 83157 w 1715044"/>
              <a:gd name="connsiteY243" fmla="*/ 147494 h 464193"/>
              <a:gd name="connsiteX244" fmla="*/ 75476 w 1715044"/>
              <a:gd name="connsiteY244" fmla="*/ 116097 h 464193"/>
              <a:gd name="connsiteX245" fmla="*/ 0 w 1715044"/>
              <a:gd name="connsiteY245" fmla="*/ 181214 h 464193"/>
              <a:gd name="connsiteX246" fmla="*/ 133197 w 1715044"/>
              <a:gd name="connsiteY246" fmla="*/ 253462 h 464193"/>
              <a:gd name="connsiteX247" fmla="*/ 266394 w 1715044"/>
              <a:gd name="connsiteY247" fmla="*/ 181214 h 464193"/>
              <a:gd name="connsiteX248" fmla="*/ 190935 w 1715044"/>
              <a:gd name="connsiteY248" fmla="*/ 116097 h 464193"/>
              <a:gd name="connsiteX249" fmla="*/ 316682 w 1715044"/>
              <a:gd name="connsiteY249" fmla="*/ 239449 h 464193"/>
              <a:gd name="connsiteX250" fmla="*/ 321436 w 1715044"/>
              <a:gd name="connsiteY250" fmla="*/ 214172 h 464193"/>
              <a:gd name="connsiteX251" fmla="*/ 367218 w 1715044"/>
              <a:gd name="connsiteY251" fmla="*/ 223928 h 464193"/>
              <a:gd name="connsiteX252" fmla="*/ 403493 w 1715044"/>
              <a:gd name="connsiteY252" fmla="*/ 201667 h 464193"/>
              <a:gd name="connsiteX253" fmla="*/ 370464 w 1715044"/>
              <a:gd name="connsiteY253" fmla="*/ 170146 h 464193"/>
              <a:gd name="connsiteX254" fmla="*/ 357710 w 1715044"/>
              <a:gd name="connsiteY254" fmla="*/ 164647 h 464193"/>
              <a:gd name="connsiteX255" fmla="*/ 318172 w 1715044"/>
              <a:gd name="connsiteY255" fmla="*/ 114607 h 464193"/>
              <a:gd name="connsiteX256" fmla="*/ 378464 w 1715044"/>
              <a:gd name="connsiteY256" fmla="*/ 67813 h 464193"/>
              <a:gd name="connsiteX257" fmla="*/ 424247 w 1715044"/>
              <a:gd name="connsiteY257" fmla="*/ 75068 h 464193"/>
              <a:gd name="connsiteX258" fmla="*/ 419245 w 1715044"/>
              <a:gd name="connsiteY258" fmla="*/ 100097 h 464193"/>
              <a:gd name="connsiteX259" fmla="*/ 378216 w 1715044"/>
              <a:gd name="connsiteY259" fmla="*/ 92842 h 464193"/>
              <a:gd name="connsiteX260" fmla="*/ 346447 w 1715044"/>
              <a:gd name="connsiteY260" fmla="*/ 114607 h 464193"/>
              <a:gd name="connsiteX261" fmla="*/ 373710 w 1715044"/>
              <a:gd name="connsiteY261" fmla="*/ 142634 h 464193"/>
              <a:gd name="connsiteX262" fmla="*/ 387227 w 1715044"/>
              <a:gd name="connsiteY262" fmla="*/ 148381 h 464193"/>
              <a:gd name="connsiteX263" fmla="*/ 432264 w 1715044"/>
              <a:gd name="connsiteY263" fmla="*/ 200425 h 464193"/>
              <a:gd name="connsiteX264" fmla="*/ 367963 w 1715044"/>
              <a:gd name="connsiteY264" fmla="*/ 248957 h 464193"/>
              <a:gd name="connsiteX265" fmla="*/ 316682 w 1715044"/>
              <a:gd name="connsiteY265" fmla="*/ 239449 h 464193"/>
              <a:gd name="connsiteX266" fmla="*/ 566632 w 1715044"/>
              <a:gd name="connsiteY266" fmla="*/ 119840 h 464193"/>
              <a:gd name="connsiteX267" fmla="*/ 566632 w 1715044"/>
              <a:gd name="connsiteY267" fmla="*/ 244948 h 464193"/>
              <a:gd name="connsiteX268" fmla="*/ 541373 w 1715044"/>
              <a:gd name="connsiteY268" fmla="*/ 244948 h 464193"/>
              <a:gd name="connsiteX269" fmla="*/ 539865 w 1715044"/>
              <a:gd name="connsiteY269" fmla="*/ 229941 h 464193"/>
              <a:gd name="connsiteX270" fmla="*/ 504584 w 1715044"/>
              <a:gd name="connsiteY270" fmla="*/ 247946 h 464193"/>
              <a:gd name="connsiteX271" fmla="*/ 449542 w 1715044"/>
              <a:gd name="connsiteY271" fmla="*/ 181888 h 464193"/>
              <a:gd name="connsiteX272" fmla="*/ 519342 w 1715044"/>
              <a:gd name="connsiteY272" fmla="*/ 112833 h 464193"/>
              <a:gd name="connsiteX273" fmla="*/ 566632 w 1715044"/>
              <a:gd name="connsiteY273" fmla="*/ 119840 h 464193"/>
              <a:gd name="connsiteX274" fmla="*/ 539120 w 1715044"/>
              <a:gd name="connsiteY274" fmla="*/ 216425 h 464193"/>
              <a:gd name="connsiteX275" fmla="*/ 539120 w 1715044"/>
              <a:gd name="connsiteY275" fmla="*/ 137862 h 464193"/>
              <a:gd name="connsiteX276" fmla="*/ 519360 w 1715044"/>
              <a:gd name="connsiteY276" fmla="*/ 136354 h 464193"/>
              <a:gd name="connsiteX277" fmla="*/ 477568 w 1715044"/>
              <a:gd name="connsiteY277" fmla="*/ 181888 h 464193"/>
              <a:gd name="connsiteX278" fmla="*/ 512353 w 1715044"/>
              <a:gd name="connsiteY278" fmla="*/ 225418 h 464193"/>
              <a:gd name="connsiteX279" fmla="*/ 539120 w 1715044"/>
              <a:gd name="connsiteY279" fmla="*/ 216425 h 464193"/>
              <a:gd name="connsiteX280" fmla="*/ 707510 w 1715044"/>
              <a:gd name="connsiteY280" fmla="*/ 160886 h 464193"/>
              <a:gd name="connsiteX281" fmla="*/ 707510 w 1715044"/>
              <a:gd name="connsiteY281" fmla="*/ 244948 h 464193"/>
              <a:gd name="connsiteX282" fmla="*/ 679980 w 1715044"/>
              <a:gd name="connsiteY282" fmla="*/ 244948 h 464193"/>
              <a:gd name="connsiteX283" fmla="*/ 679980 w 1715044"/>
              <a:gd name="connsiteY283" fmla="*/ 165640 h 464193"/>
              <a:gd name="connsiteX284" fmla="*/ 645958 w 1715044"/>
              <a:gd name="connsiteY284" fmla="*/ 136372 h 464193"/>
              <a:gd name="connsiteX285" fmla="*/ 624193 w 1715044"/>
              <a:gd name="connsiteY285" fmla="*/ 138376 h 464193"/>
              <a:gd name="connsiteX286" fmla="*/ 624193 w 1715044"/>
              <a:gd name="connsiteY286" fmla="*/ 244966 h 464193"/>
              <a:gd name="connsiteX287" fmla="*/ 596663 w 1715044"/>
              <a:gd name="connsiteY287" fmla="*/ 244966 h 464193"/>
              <a:gd name="connsiteX288" fmla="*/ 596663 w 1715044"/>
              <a:gd name="connsiteY288" fmla="*/ 119840 h 464193"/>
              <a:gd name="connsiteX289" fmla="*/ 646703 w 1715044"/>
              <a:gd name="connsiteY289" fmla="*/ 112833 h 464193"/>
              <a:gd name="connsiteX290" fmla="*/ 707510 w 1715044"/>
              <a:gd name="connsiteY290" fmla="*/ 160886 h 464193"/>
              <a:gd name="connsiteX291" fmla="*/ 783820 w 1715044"/>
              <a:gd name="connsiteY291" fmla="*/ 224425 h 464193"/>
              <a:gd name="connsiteX292" fmla="*/ 805336 w 1715044"/>
              <a:gd name="connsiteY292" fmla="*/ 220664 h 464193"/>
              <a:gd name="connsiteX293" fmla="*/ 802090 w 1715044"/>
              <a:gd name="connsiteY293" fmla="*/ 243937 h 464193"/>
              <a:gd name="connsiteX294" fmla="*/ 778818 w 1715044"/>
              <a:gd name="connsiteY294" fmla="*/ 247946 h 464193"/>
              <a:gd name="connsiteX295" fmla="*/ 735039 w 1715044"/>
              <a:gd name="connsiteY295" fmla="*/ 205161 h 464193"/>
              <a:gd name="connsiteX296" fmla="*/ 735039 w 1715044"/>
              <a:gd name="connsiteY296" fmla="*/ 73809 h 464193"/>
              <a:gd name="connsiteX297" fmla="*/ 762569 w 1715044"/>
              <a:gd name="connsiteY297" fmla="*/ 69800 h 464193"/>
              <a:gd name="connsiteX298" fmla="*/ 762569 w 1715044"/>
              <a:gd name="connsiteY298" fmla="*/ 117090 h 464193"/>
              <a:gd name="connsiteX299" fmla="*/ 806099 w 1715044"/>
              <a:gd name="connsiteY299" fmla="*/ 117090 h 464193"/>
              <a:gd name="connsiteX300" fmla="*/ 803598 w 1715044"/>
              <a:gd name="connsiteY300" fmla="*/ 140611 h 464193"/>
              <a:gd name="connsiteX301" fmla="*/ 762569 w 1715044"/>
              <a:gd name="connsiteY301" fmla="*/ 140611 h 464193"/>
              <a:gd name="connsiteX302" fmla="*/ 762569 w 1715044"/>
              <a:gd name="connsiteY302" fmla="*/ 201915 h 464193"/>
              <a:gd name="connsiteX303" fmla="*/ 783820 w 1715044"/>
              <a:gd name="connsiteY303" fmla="*/ 224425 h 464193"/>
              <a:gd name="connsiteX304" fmla="*/ 931456 w 1715044"/>
              <a:gd name="connsiteY304" fmla="*/ 119840 h 464193"/>
              <a:gd name="connsiteX305" fmla="*/ 931456 w 1715044"/>
              <a:gd name="connsiteY305" fmla="*/ 244948 h 464193"/>
              <a:gd name="connsiteX306" fmla="*/ 906178 w 1715044"/>
              <a:gd name="connsiteY306" fmla="*/ 244948 h 464193"/>
              <a:gd name="connsiteX307" fmla="*/ 904671 w 1715044"/>
              <a:gd name="connsiteY307" fmla="*/ 229941 h 464193"/>
              <a:gd name="connsiteX308" fmla="*/ 869389 w 1715044"/>
              <a:gd name="connsiteY308" fmla="*/ 247946 h 464193"/>
              <a:gd name="connsiteX309" fmla="*/ 814347 w 1715044"/>
              <a:gd name="connsiteY309" fmla="*/ 181888 h 464193"/>
              <a:gd name="connsiteX310" fmla="*/ 884148 w 1715044"/>
              <a:gd name="connsiteY310" fmla="*/ 112833 h 464193"/>
              <a:gd name="connsiteX311" fmla="*/ 931456 w 1715044"/>
              <a:gd name="connsiteY311" fmla="*/ 119840 h 464193"/>
              <a:gd name="connsiteX312" fmla="*/ 903926 w 1715044"/>
              <a:gd name="connsiteY312" fmla="*/ 216425 h 464193"/>
              <a:gd name="connsiteX313" fmla="*/ 903926 w 1715044"/>
              <a:gd name="connsiteY313" fmla="*/ 137862 h 464193"/>
              <a:gd name="connsiteX314" fmla="*/ 884165 w 1715044"/>
              <a:gd name="connsiteY314" fmla="*/ 136354 h 464193"/>
              <a:gd name="connsiteX315" fmla="*/ 842374 w 1715044"/>
              <a:gd name="connsiteY315" fmla="*/ 181888 h 464193"/>
              <a:gd name="connsiteX316" fmla="*/ 877159 w 1715044"/>
              <a:gd name="connsiteY316" fmla="*/ 225418 h 464193"/>
              <a:gd name="connsiteX317" fmla="*/ 903926 w 1715044"/>
              <a:gd name="connsiteY317" fmla="*/ 216425 h 464193"/>
              <a:gd name="connsiteX318" fmla="*/ 1072315 w 1715044"/>
              <a:gd name="connsiteY318" fmla="*/ 160886 h 464193"/>
              <a:gd name="connsiteX319" fmla="*/ 1072315 w 1715044"/>
              <a:gd name="connsiteY319" fmla="*/ 244948 h 464193"/>
              <a:gd name="connsiteX320" fmla="*/ 1044786 w 1715044"/>
              <a:gd name="connsiteY320" fmla="*/ 244948 h 464193"/>
              <a:gd name="connsiteX321" fmla="*/ 1044786 w 1715044"/>
              <a:gd name="connsiteY321" fmla="*/ 165640 h 464193"/>
              <a:gd name="connsiteX322" fmla="*/ 1010763 w 1715044"/>
              <a:gd name="connsiteY322" fmla="*/ 136372 h 464193"/>
              <a:gd name="connsiteX323" fmla="*/ 988999 w 1715044"/>
              <a:gd name="connsiteY323" fmla="*/ 138376 h 464193"/>
              <a:gd name="connsiteX324" fmla="*/ 988999 w 1715044"/>
              <a:gd name="connsiteY324" fmla="*/ 244966 h 464193"/>
              <a:gd name="connsiteX325" fmla="*/ 961469 w 1715044"/>
              <a:gd name="connsiteY325" fmla="*/ 244966 h 464193"/>
              <a:gd name="connsiteX326" fmla="*/ 961469 w 1715044"/>
              <a:gd name="connsiteY326" fmla="*/ 119840 h 464193"/>
              <a:gd name="connsiteX327" fmla="*/ 1011508 w 1715044"/>
              <a:gd name="connsiteY327" fmla="*/ 112833 h 464193"/>
              <a:gd name="connsiteX328" fmla="*/ 1072315 w 1715044"/>
              <a:gd name="connsiteY328" fmla="*/ 160886 h 464193"/>
              <a:gd name="connsiteX329" fmla="*/ 1211933 w 1715044"/>
              <a:gd name="connsiteY329" fmla="*/ 69800 h 464193"/>
              <a:gd name="connsiteX330" fmla="*/ 1211933 w 1715044"/>
              <a:gd name="connsiteY330" fmla="*/ 244930 h 464193"/>
              <a:gd name="connsiteX331" fmla="*/ 1186656 w 1715044"/>
              <a:gd name="connsiteY331" fmla="*/ 244930 h 464193"/>
              <a:gd name="connsiteX332" fmla="*/ 1185149 w 1715044"/>
              <a:gd name="connsiteY332" fmla="*/ 228913 h 464193"/>
              <a:gd name="connsiteX333" fmla="*/ 1149371 w 1715044"/>
              <a:gd name="connsiteY333" fmla="*/ 247928 h 464193"/>
              <a:gd name="connsiteX334" fmla="*/ 1094329 w 1715044"/>
              <a:gd name="connsiteY334" fmla="*/ 181871 h 464193"/>
              <a:gd name="connsiteX335" fmla="*/ 1164129 w 1715044"/>
              <a:gd name="connsiteY335" fmla="*/ 112815 h 464193"/>
              <a:gd name="connsiteX336" fmla="*/ 1184652 w 1715044"/>
              <a:gd name="connsiteY336" fmla="*/ 114820 h 464193"/>
              <a:gd name="connsiteX337" fmla="*/ 1184652 w 1715044"/>
              <a:gd name="connsiteY337" fmla="*/ 73561 h 464193"/>
              <a:gd name="connsiteX338" fmla="*/ 1211933 w 1715044"/>
              <a:gd name="connsiteY338" fmla="*/ 69800 h 464193"/>
              <a:gd name="connsiteX339" fmla="*/ 1184652 w 1715044"/>
              <a:gd name="connsiteY339" fmla="*/ 215928 h 464193"/>
              <a:gd name="connsiteX340" fmla="*/ 1184652 w 1715044"/>
              <a:gd name="connsiteY340" fmla="*/ 138855 h 464193"/>
              <a:gd name="connsiteX341" fmla="*/ 1162639 w 1715044"/>
              <a:gd name="connsiteY341" fmla="*/ 136354 h 464193"/>
              <a:gd name="connsiteX342" fmla="*/ 1122355 w 1715044"/>
              <a:gd name="connsiteY342" fmla="*/ 181888 h 464193"/>
              <a:gd name="connsiteX343" fmla="*/ 1157140 w 1715044"/>
              <a:gd name="connsiteY343" fmla="*/ 225418 h 464193"/>
              <a:gd name="connsiteX344" fmla="*/ 1184652 w 1715044"/>
              <a:gd name="connsiteY344" fmla="*/ 215928 h 464193"/>
              <a:gd name="connsiteX345" fmla="*/ 1350292 w 1715044"/>
              <a:gd name="connsiteY345" fmla="*/ 191396 h 464193"/>
              <a:gd name="connsiteX346" fmla="*/ 1262470 w 1715044"/>
              <a:gd name="connsiteY346" fmla="*/ 191396 h 464193"/>
              <a:gd name="connsiteX347" fmla="*/ 1303499 w 1715044"/>
              <a:gd name="connsiteY347" fmla="*/ 224425 h 464193"/>
              <a:gd name="connsiteX348" fmla="*/ 1347525 w 1715044"/>
              <a:gd name="connsiteY348" fmla="*/ 214917 h 464193"/>
              <a:gd name="connsiteX349" fmla="*/ 1343268 w 1715044"/>
              <a:gd name="connsiteY349" fmla="*/ 239928 h 464193"/>
              <a:gd name="connsiteX350" fmla="*/ 1302736 w 1715044"/>
              <a:gd name="connsiteY350" fmla="*/ 247928 h 464193"/>
              <a:gd name="connsiteX351" fmla="*/ 1234426 w 1715044"/>
              <a:gd name="connsiteY351" fmla="*/ 179618 h 464193"/>
              <a:gd name="connsiteX352" fmla="*/ 1295481 w 1715044"/>
              <a:gd name="connsiteY352" fmla="*/ 112815 h 464193"/>
              <a:gd name="connsiteX353" fmla="*/ 1351782 w 1715044"/>
              <a:gd name="connsiteY353" fmla="*/ 170110 h 464193"/>
              <a:gd name="connsiteX354" fmla="*/ 1350292 w 1715044"/>
              <a:gd name="connsiteY354" fmla="*/ 191396 h 464193"/>
              <a:gd name="connsiteX355" fmla="*/ 1261973 w 1715044"/>
              <a:gd name="connsiteY355" fmla="*/ 168390 h 464193"/>
              <a:gd name="connsiteX356" fmla="*/ 1324022 w 1715044"/>
              <a:gd name="connsiteY356" fmla="*/ 168390 h 464193"/>
              <a:gd name="connsiteX357" fmla="*/ 1293991 w 1715044"/>
              <a:gd name="connsiteY357" fmla="*/ 135858 h 464193"/>
              <a:gd name="connsiteX358" fmla="*/ 1261973 w 1715044"/>
              <a:gd name="connsiteY358" fmla="*/ 168390 h 464193"/>
              <a:gd name="connsiteX359" fmla="*/ 1446629 w 1715044"/>
              <a:gd name="connsiteY359" fmla="*/ 113844 h 464193"/>
              <a:gd name="connsiteX360" fmla="*/ 1444128 w 1715044"/>
              <a:gd name="connsiteY360" fmla="*/ 137365 h 464193"/>
              <a:gd name="connsiteX361" fmla="*/ 1423356 w 1715044"/>
              <a:gd name="connsiteY361" fmla="*/ 136372 h 464193"/>
              <a:gd name="connsiteX362" fmla="*/ 1403099 w 1715044"/>
              <a:gd name="connsiteY362" fmla="*/ 137880 h 464193"/>
              <a:gd name="connsiteX363" fmla="*/ 1403099 w 1715044"/>
              <a:gd name="connsiteY363" fmla="*/ 244966 h 464193"/>
              <a:gd name="connsiteX364" fmla="*/ 1375569 w 1715044"/>
              <a:gd name="connsiteY364" fmla="*/ 244966 h 464193"/>
              <a:gd name="connsiteX365" fmla="*/ 1375569 w 1715044"/>
              <a:gd name="connsiteY365" fmla="*/ 119840 h 464193"/>
              <a:gd name="connsiteX366" fmla="*/ 1422611 w 1715044"/>
              <a:gd name="connsiteY366" fmla="*/ 112833 h 464193"/>
              <a:gd name="connsiteX367" fmla="*/ 1446629 w 1715044"/>
              <a:gd name="connsiteY367" fmla="*/ 113844 h 464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</a:cxnLst>
            <a:rect l="l" t="t" r="r" b="b"/>
            <a:pathLst>
              <a:path w="1715044" h="464193">
                <a:moveTo>
                  <a:pt x="391413" y="400655"/>
                </a:moveTo>
                <a:lnTo>
                  <a:pt x="339050" y="400655"/>
                </a:lnTo>
                <a:lnTo>
                  <a:pt x="329223" y="429284"/>
                </a:lnTo>
                <a:lnTo>
                  <a:pt x="316682" y="429284"/>
                </a:lnTo>
                <a:lnTo>
                  <a:pt x="357515" y="312708"/>
                </a:lnTo>
                <a:cubicBezTo>
                  <a:pt x="361755" y="311697"/>
                  <a:pt x="367342" y="311183"/>
                  <a:pt x="372433" y="311183"/>
                </a:cubicBezTo>
                <a:lnTo>
                  <a:pt x="413781" y="429284"/>
                </a:lnTo>
                <a:lnTo>
                  <a:pt x="401240" y="429284"/>
                </a:lnTo>
                <a:lnTo>
                  <a:pt x="391413" y="400655"/>
                </a:lnTo>
                <a:close/>
                <a:moveTo>
                  <a:pt x="387688" y="389462"/>
                </a:moveTo>
                <a:lnTo>
                  <a:pt x="365320" y="323546"/>
                </a:lnTo>
                <a:lnTo>
                  <a:pt x="342793" y="389462"/>
                </a:lnTo>
                <a:lnTo>
                  <a:pt x="387688" y="389462"/>
                </a:lnTo>
                <a:close/>
                <a:moveTo>
                  <a:pt x="421231" y="424708"/>
                </a:moveTo>
                <a:cubicBezTo>
                  <a:pt x="421409" y="419972"/>
                  <a:pt x="422083" y="416743"/>
                  <a:pt x="422934" y="414366"/>
                </a:cubicBezTo>
                <a:cubicBezTo>
                  <a:pt x="430899" y="418943"/>
                  <a:pt x="441914" y="420983"/>
                  <a:pt x="450553" y="420983"/>
                </a:cubicBezTo>
                <a:cubicBezTo>
                  <a:pt x="463590" y="420983"/>
                  <a:pt x="471555" y="416921"/>
                  <a:pt x="471555" y="407253"/>
                </a:cubicBezTo>
                <a:cubicBezTo>
                  <a:pt x="471555" y="397089"/>
                  <a:pt x="462242" y="393524"/>
                  <a:pt x="454100" y="390987"/>
                </a:cubicBezTo>
                <a:lnTo>
                  <a:pt x="446313" y="388610"/>
                </a:lnTo>
                <a:cubicBezTo>
                  <a:pt x="431236" y="384034"/>
                  <a:pt x="422934" y="376406"/>
                  <a:pt x="422934" y="362854"/>
                </a:cubicBezTo>
                <a:cubicBezTo>
                  <a:pt x="422934" y="347777"/>
                  <a:pt x="434464" y="339812"/>
                  <a:pt x="453604" y="339812"/>
                </a:cubicBezTo>
                <a:cubicBezTo>
                  <a:pt x="463431" y="339812"/>
                  <a:pt x="472584" y="341160"/>
                  <a:pt x="480371" y="344211"/>
                </a:cubicBezTo>
                <a:cubicBezTo>
                  <a:pt x="480193" y="347103"/>
                  <a:pt x="479697" y="350828"/>
                  <a:pt x="478668" y="354216"/>
                </a:cubicBezTo>
                <a:cubicBezTo>
                  <a:pt x="470881" y="351324"/>
                  <a:pt x="462224" y="349976"/>
                  <a:pt x="453923" y="349976"/>
                </a:cubicBezTo>
                <a:cubicBezTo>
                  <a:pt x="440868" y="349976"/>
                  <a:pt x="434269" y="354216"/>
                  <a:pt x="434269" y="362517"/>
                </a:cubicBezTo>
                <a:cubicBezTo>
                  <a:pt x="434269" y="372007"/>
                  <a:pt x="440885" y="374881"/>
                  <a:pt x="451386" y="378446"/>
                </a:cubicBezTo>
                <a:lnTo>
                  <a:pt x="459351" y="381160"/>
                </a:lnTo>
                <a:cubicBezTo>
                  <a:pt x="472743" y="385737"/>
                  <a:pt x="483067" y="392176"/>
                  <a:pt x="483067" y="406916"/>
                </a:cubicBezTo>
                <a:cubicBezTo>
                  <a:pt x="483067" y="422331"/>
                  <a:pt x="471200" y="431306"/>
                  <a:pt x="450872" y="431306"/>
                </a:cubicBezTo>
                <a:cubicBezTo>
                  <a:pt x="439023" y="431324"/>
                  <a:pt x="429196" y="429284"/>
                  <a:pt x="421231" y="424708"/>
                </a:cubicBezTo>
                <a:close/>
                <a:moveTo>
                  <a:pt x="495271" y="424708"/>
                </a:moveTo>
                <a:cubicBezTo>
                  <a:pt x="495431" y="419972"/>
                  <a:pt x="496122" y="416743"/>
                  <a:pt x="496974" y="414366"/>
                </a:cubicBezTo>
                <a:cubicBezTo>
                  <a:pt x="504938" y="418943"/>
                  <a:pt x="515954" y="420983"/>
                  <a:pt x="524592" y="420983"/>
                </a:cubicBezTo>
                <a:cubicBezTo>
                  <a:pt x="537648" y="420983"/>
                  <a:pt x="545594" y="416921"/>
                  <a:pt x="545594" y="407253"/>
                </a:cubicBezTo>
                <a:cubicBezTo>
                  <a:pt x="545594" y="397089"/>
                  <a:pt x="536282" y="393524"/>
                  <a:pt x="528140" y="390987"/>
                </a:cubicBezTo>
                <a:lnTo>
                  <a:pt x="520353" y="388610"/>
                </a:lnTo>
                <a:cubicBezTo>
                  <a:pt x="505275" y="384034"/>
                  <a:pt x="496974" y="376406"/>
                  <a:pt x="496974" y="362854"/>
                </a:cubicBezTo>
                <a:cubicBezTo>
                  <a:pt x="496974" y="347777"/>
                  <a:pt x="508504" y="339812"/>
                  <a:pt x="527643" y="339812"/>
                </a:cubicBezTo>
                <a:cubicBezTo>
                  <a:pt x="537470" y="339812"/>
                  <a:pt x="546623" y="341160"/>
                  <a:pt x="554410" y="344211"/>
                </a:cubicBezTo>
                <a:cubicBezTo>
                  <a:pt x="554233" y="347103"/>
                  <a:pt x="553736" y="350828"/>
                  <a:pt x="552708" y="354216"/>
                </a:cubicBezTo>
                <a:cubicBezTo>
                  <a:pt x="544920" y="351324"/>
                  <a:pt x="536264" y="349976"/>
                  <a:pt x="527963" y="349976"/>
                </a:cubicBezTo>
                <a:cubicBezTo>
                  <a:pt x="514925" y="349976"/>
                  <a:pt x="508309" y="354216"/>
                  <a:pt x="508309" y="362517"/>
                </a:cubicBezTo>
                <a:cubicBezTo>
                  <a:pt x="508309" y="372007"/>
                  <a:pt x="514925" y="374881"/>
                  <a:pt x="525426" y="378446"/>
                </a:cubicBezTo>
                <a:lnTo>
                  <a:pt x="533391" y="381160"/>
                </a:lnTo>
                <a:cubicBezTo>
                  <a:pt x="546783" y="385737"/>
                  <a:pt x="557107" y="392176"/>
                  <a:pt x="557107" y="406916"/>
                </a:cubicBezTo>
                <a:cubicBezTo>
                  <a:pt x="557107" y="422331"/>
                  <a:pt x="545240" y="431306"/>
                  <a:pt x="524912" y="431306"/>
                </a:cubicBezTo>
                <a:cubicBezTo>
                  <a:pt x="513062" y="431324"/>
                  <a:pt x="503235" y="429284"/>
                  <a:pt x="495271" y="424708"/>
                </a:cubicBezTo>
                <a:close/>
                <a:moveTo>
                  <a:pt x="642854" y="389639"/>
                </a:moveTo>
                <a:lnTo>
                  <a:pt x="580166" y="389639"/>
                </a:lnTo>
                <a:cubicBezTo>
                  <a:pt x="581692" y="409967"/>
                  <a:pt x="592370" y="420823"/>
                  <a:pt x="611687" y="420823"/>
                </a:cubicBezTo>
                <a:cubicBezTo>
                  <a:pt x="620840" y="420823"/>
                  <a:pt x="631004" y="418783"/>
                  <a:pt x="640157" y="413533"/>
                </a:cubicBezTo>
                <a:cubicBezTo>
                  <a:pt x="639820" y="416584"/>
                  <a:pt x="639146" y="421160"/>
                  <a:pt x="638295" y="424885"/>
                </a:cubicBezTo>
                <a:cubicBezTo>
                  <a:pt x="629816" y="429799"/>
                  <a:pt x="621018" y="431324"/>
                  <a:pt x="611350" y="431324"/>
                </a:cubicBezTo>
                <a:cubicBezTo>
                  <a:pt x="583058" y="431324"/>
                  <a:pt x="568140" y="414207"/>
                  <a:pt x="568140" y="385063"/>
                </a:cubicBezTo>
                <a:cubicBezTo>
                  <a:pt x="568140" y="359821"/>
                  <a:pt x="579492" y="339830"/>
                  <a:pt x="607288" y="339830"/>
                </a:cubicBezTo>
                <a:cubicBezTo>
                  <a:pt x="632707" y="339830"/>
                  <a:pt x="643545" y="357284"/>
                  <a:pt x="643545" y="379138"/>
                </a:cubicBezTo>
                <a:cubicBezTo>
                  <a:pt x="643528" y="382686"/>
                  <a:pt x="643368" y="386251"/>
                  <a:pt x="642854" y="389639"/>
                </a:cubicBezTo>
                <a:close/>
                <a:moveTo>
                  <a:pt x="580166" y="378961"/>
                </a:moveTo>
                <a:lnTo>
                  <a:pt x="631678" y="378961"/>
                </a:lnTo>
                <a:lnTo>
                  <a:pt x="631678" y="378287"/>
                </a:lnTo>
                <a:cubicBezTo>
                  <a:pt x="631678" y="361506"/>
                  <a:pt x="623554" y="350154"/>
                  <a:pt x="606774" y="350154"/>
                </a:cubicBezTo>
                <a:cubicBezTo>
                  <a:pt x="589816" y="350154"/>
                  <a:pt x="581514" y="361347"/>
                  <a:pt x="580166" y="378961"/>
                </a:cubicBezTo>
                <a:close/>
                <a:moveTo>
                  <a:pt x="704193" y="418446"/>
                </a:moveTo>
                <a:cubicBezTo>
                  <a:pt x="703856" y="421674"/>
                  <a:pt x="703341" y="425400"/>
                  <a:pt x="702667" y="428610"/>
                </a:cubicBezTo>
                <a:cubicBezTo>
                  <a:pt x="697576" y="430473"/>
                  <a:pt x="692663" y="431324"/>
                  <a:pt x="687412" y="431324"/>
                </a:cubicBezTo>
                <a:cubicBezTo>
                  <a:pt x="671146" y="431324"/>
                  <a:pt x="661142" y="423200"/>
                  <a:pt x="661142" y="404220"/>
                </a:cubicBezTo>
                <a:lnTo>
                  <a:pt x="661142" y="312903"/>
                </a:lnTo>
                <a:cubicBezTo>
                  <a:pt x="664707" y="311715"/>
                  <a:pt x="669443" y="311041"/>
                  <a:pt x="673009" y="311041"/>
                </a:cubicBezTo>
                <a:lnTo>
                  <a:pt x="673009" y="342384"/>
                </a:lnTo>
                <a:lnTo>
                  <a:pt x="703678" y="342384"/>
                </a:lnTo>
                <a:cubicBezTo>
                  <a:pt x="703501" y="346446"/>
                  <a:pt x="703164" y="349834"/>
                  <a:pt x="702490" y="353063"/>
                </a:cubicBezTo>
                <a:lnTo>
                  <a:pt x="673009" y="353063"/>
                </a:lnTo>
                <a:lnTo>
                  <a:pt x="673009" y="402872"/>
                </a:lnTo>
                <a:cubicBezTo>
                  <a:pt x="673009" y="415750"/>
                  <a:pt x="678933" y="421178"/>
                  <a:pt x="689452" y="421178"/>
                </a:cubicBezTo>
                <a:cubicBezTo>
                  <a:pt x="694188" y="421160"/>
                  <a:pt x="699616" y="420131"/>
                  <a:pt x="704193" y="418446"/>
                </a:cubicBezTo>
                <a:close/>
                <a:moveTo>
                  <a:pt x="870241" y="429284"/>
                </a:moveTo>
                <a:lnTo>
                  <a:pt x="857877" y="429284"/>
                </a:lnTo>
                <a:lnTo>
                  <a:pt x="854312" y="376247"/>
                </a:lnTo>
                <a:cubicBezTo>
                  <a:pt x="853301" y="359981"/>
                  <a:pt x="852449" y="344229"/>
                  <a:pt x="851935" y="328797"/>
                </a:cubicBezTo>
                <a:cubicBezTo>
                  <a:pt x="845673" y="346074"/>
                  <a:pt x="838720" y="364202"/>
                  <a:pt x="832103" y="380468"/>
                </a:cubicBezTo>
                <a:lnTo>
                  <a:pt x="812449" y="429266"/>
                </a:lnTo>
                <a:lnTo>
                  <a:pt x="803474" y="429266"/>
                </a:lnTo>
                <a:lnTo>
                  <a:pt x="782472" y="375892"/>
                </a:lnTo>
                <a:cubicBezTo>
                  <a:pt x="775855" y="359626"/>
                  <a:pt x="769771" y="343697"/>
                  <a:pt x="764858" y="328956"/>
                </a:cubicBezTo>
                <a:cubicBezTo>
                  <a:pt x="764183" y="343697"/>
                  <a:pt x="762995" y="361666"/>
                  <a:pt x="761984" y="377240"/>
                </a:cubicBezTo>
                <a:lnTo>
                  <a:pt x="757922" y="429249"/>
                </a:lnTo>
                <a:lnTo>
                  <a:pt x="745718" y="429249"/>
                </a:lnTo>
                <a:lnTo>
                  <a:pt x="754871" y="312673"/>
                </a:lnTo>
                <a:cubicBezTo>
                  <a:pt x="758773" y="311484"/>
                  <a:pt x="765709" y="310810"/>
                  <a:pt x="769434" y="310810"/>
                </a:cubicBezTo>
                <a:lnTo>
                  <a:pt x="808228" y="410606"/>
                </a:lnTo>
                <a:lnTo>
                  <a:pt x="846525" y="312673"/>
                </a:lnTo>
                <a:cubicBezTo>
                  <a:pt x="850924" y="311147"/>
                  <a:pt x="857363" y="310810"/>
                  <a:pt x="861443" y="310810"/>
                </a:cubicBezTo>
                <a:lnTo>
                  <a:pt x="870241" y="429284"/>
                </a:lnTo>
                <a:close/>
                <a:moveTo>
                  <a:pt x="960369" y="344566"/>
                </a:moveTo>
                <a:lnTo>
                  <a:pt x="960369" y="429284"/>
                </a:lnTo>
                <a:lnTo>
                  <a:pt x="949354" y="429284"/>
                </a:lnTo>
                <a:lnTo>
                  <a:pt x="949016" y="422686"/>
                </a:lnTo>
                <a:cubicBezTo>
                  <a:pt x="943252" y="427776"/>
                  <a:pt x="935464" y="431324"/>
                  <a:pt x="925974" y="431324"/>
                </a:cubicBezTo>
                <a:cubicBezTo>
                  <a:pt x="901921" y="431324"/>
                  <a:pt x="887003" y="415235"/>
                  <a:pt x="887003" y="386251"/>
                </a:cubicBezTo>
                <a:cubicBezTo>
                  <a:pt x="887003" y="356433"/>
                  <a:pt x="901744" y="339830"/>
                  <a:pt x="932076" y="339830"/>
                </a:cubicBezTo>
                <a:cubicBezTo>
                  <a:pt x="942577" y="339830"/>
                  <a:pt x="951393" y="341178"/>
                  <a:pt x="960369" y="344566"/>
                </a:cubicBezTo>
                <a:close/>
                <a:moveTo>
                  <a:pt x="927003" y="421497"/>
                </a:moveTo>
                <a:cubicBezTo>
                  <a:pt x="935819" y="421497"/>
                  <a:pt x="942932" y="418269"/>
                  <a:pt x="948520" y="412859"/>
                </a:cubicBezTo>
                <a:lnTo>
                  <a:pt x="948520" y="352371"/>
                </a:lnTo>
                <a:cubicBezTo>
                  <a:pt x="943429" y="351023"/>
                  <a:pt x="938178" y="350331"/>
                  <a:pt x="932076" y="350331"/>
                </a:cubicBezTo>
                <a:cubicBezTo>
                  <a:pt x="909371" y="350331"/>
                  <a:pt x="899030" y="363546"/>
                  <a:pt x="899030" y="386251"/>
                </a:cubicBezTo>
                <a:cubicBezTo>
                  <a:pt x="899048" y="408105"/>
                  <a:pt x="908520" y="421497"/>
                  <a:pt x="927003" y="421497"/>
                </a:cubicBezTo>
                <a:close/>
                <a:moveTo>
                  <a:pt x="1053566" y="372007"/>
                </a:moveTo>
                <a:lnTo>
                  <a:pt x="1053566" y="429284"/>
                </a:lnTo>
                <a:lnTo>
                  <a:pt x="1041699" y="429284"/>
                </a:lnTo>
                <a:lnTo>
                  <a:pt x="1041699" y="374225"/>
                </a:lnTo>
                <a:cubicBezTo>
                  <a:pt x="1041699" y="358473"/>
                  <a:pt x="1035774" y="350331"/>
                  <a:pt x="1014932" y="350331"/>
                </a:cubicBezTo>
                <a:cubicBezTo>
                  <a:pt x="1008830" y="350331"/>
                  <a:pt x="1001717" y="351183"/>
                  <a:pt x="995278" y="352708"/>
                </a:cubicBezTo>
                <a:lnTo>
                  <a:pt x="995278" y="429284"/>
                </a:lnTo>
                <a:lnTo>
                  <a:pt x="983411" y="429284"/>
                </a:lnTo>
                <a:lnTo>
                  <a:pt x="983411" y="344566"/>
                </a:lnTo>
                <a:cubicBezTo>
                  <a:pt x="994764" y="341515"/>
                  <a:pt x="1005779" y="339830"/>
                  <a:pt x="1015269" y="339830"/>
                </a:cubicBezTo>
                <a:cubicBezTo>
                  <a:pt x="1043916" y="339830"/>
                  <a:pt x="1053566" y="351520"/>
                  <a:pt x="1053566" y="372007"/>
                </a:cubicBezTo>
                <a:close/>
                <a:moveTo>
                  <a:pt x="1144386" y="344566"/>
                </a:moveTo>
                <a:lnTo>
                  <a:pt x="1144386" y="429284"/>
                </a:lnTo>
                <a:lnTo>
                  <a:pt x="1133371" y="429284"/>
                </a:lnTo>
                <a:lnTo>
                  <a:pt x="1133034" y="422686"/>
                </a:lnTo>
                <a:cubicBezTo>
                  <a:pt x="1127269" y="427776"/>
                  <a:pt x="1119481" y="431324"/>
                  <a:pt x="1109992" y="431324"/>
                </a:cubicBezTo>
                <a:cubicBezTo>
                  <a:pt x="1085938" y="431324"/>
                  <a:pt x="1071020" y="415235"/>
                  <a:pt x="1071020" y="386251"/>
                </a:cubicBezTo>
                <a:cubicBezTo>
                  <a:pt x="1071020" y="356433"/>
                  <a:pt x="1085761" y="339830"/>
                  <a:pt x="1116094" y="339830"/>
                </a:cubicBezTo>
                <a:cubicBezTo>
                  <a:pt x="1126595" y="339830"/>
                  <a:pt x="1135411" y="341178"/>
                  <a:pt x="1144386" y="344566"/>
                </a:cubicBezTo>
                <a:close/>
                <a:moveTo>
                  <a:pt x="1111003" y="421497"/>
                </a:moveTo>
                <a:cubicBezTo>
                  <a:pt x="1119819" y="421497"/>
                  <a:pt x="1126932" y="418269"/>
                  <a:pt x="1132519" y="412859"/>
                </a:cubicBezTo>
                <a:lnTo>
                  <a:pt x="1132519" y="352371"/>
                </a:lnTo>
                <a:cubicBezTo>
                  <a:pt x="1127428" y="351023"/>
                  <a:pt x="1122178" y="350331"/>
                  <a:pt x="1116094" y="350331"/>
                </a:cubicBezTo>
                <a:cubicBezTo>
                  <a:pt x="1093389" y="350331"/>
                  <a:pt x="1083047" y="363546"/>
                  <a:pt x="1083047" y="386251"/>
                </a:cubicBezTo>
                <a:cubicBezTo>
                  <a:pt x="1083047" y="408105"/>
                  <a:pt x="1092537" y="421497"/>
                  <a:pt x="1111003" y="421497"/>
                </a:cubicBezTo>
                <a:close/>
                <a:moveTo>
                  <a:pt x="1236217" y="344566"/>
                </a:moveTo>
                <a:lnTo>
                  <a:pt x="1236217" y="426074"/>
                </a:lnTo>
                <a:cubicBezTo>
                  <a:pt x="1236217" y="449630"/>
                  <a:pt x="1223854" y="464193"/>
                  <a:pt x="1195561" y="464193"/>
                </a:cubicBezTo>
                <a:cubicBezTo>
                  <a:pt x="1186923" y="464193"/>
                  <a:pt x="1178107" y="462668"/>
                  <a:pt x="1170142" y="459280"/>
                </a:cubicBezTo>
                <a:cubicBezTo>
                  <a:pt x="1170142" y="456388"/>
                  <a:pt x="1170657" y="451830"/>
                  <a:pt x="1171331" y="448779"/>
                </a:cubicBezTo>
                <a:cubicBezTo>
                  <a:pt x="1179118" y="452504"/>
                  <a:pt x="1188608" y="454029"/>
                  <a:pt x="1195561" y="454029"/>
                </a:cubicBezTo>
                <a:cubicBezTo>
                  <a:pt x="1213867" y="454029"/>
                  <a:pt x="1224368" y="446579"/>
                  <a:pt x="1224368" y="427599"/>
                </a:cubicBezTo>
                <a:lnTo>
                  <a:pt x="1224368" y="423023"/>
                </a:lnTo>
                <a:cubicBezTo>
                  <a:pt x="1218781" y="427936"/>
                  <a:pt x="1211153" y="431324"/>
                  <a:pt x="1201840" y="431324"/>
                </a:cubicBezTo>
                <a:cubicBezTo>
                  <a:pt x="1177787" y="431324"/>
                  <a:pt x="1162869" y="415235"/>
                  <a:pt x="1162869" y="386251"/>
                </a:cubicBezTo>
                <a:cubicBezTo>
                  <a:pt x="1162869" y="356433"/>
                  <a:pt x="1177610" y="339830"/>
                  <a:pt x="1207942" y="339830"/>
                </a:cubicBezTo>
                <a:cubicBezTo>
                  <a:pt x="1218426" y="339830"/>
                  <a:pt x="1227242" y="341178"/>
                  <a:pt x="1236217" y="344566"/>
                </a:cubicBezTo>
                <a:close/>
                <a:moveTo>
                  <a:pt x="1224350" y="412841"/>
                </a:moveTo>
                <a:lnTo>
                  <a:pt x="1224350" y="352353"/>
                </a:lnTo>
                <a:cubicBezTo>
                  <a:pt x="1219259" y="351005"/>
                  <a:pt x="1214009" y="350313"/>
                  <a:pt x="1207907" y="350313"/>
                </a:cubicBezTo>
                <a:cubicBezTo>
                  <a:pt x="1185202" y="350313"/>
                  <a:pt x="1174860" y="363528"/>
                  <a:pt x="1174860" y="386233"/>
                </a:cubicBezTo>
                <a:cubicBezTo>
                  <a:pt x="1174860" y="408087"/>
                  <a:pt x="1184350" y="421479"/>
                  <a:pt x="1202816" y="421479"/>
                </a:cubicBezTo>
                <a:cubicBezTo>
                  <a:pt x="1211650" y="421497"/>
                  <a:pt x="1218763" y="418269"/>
                  <a:pt x="1224350" y="412841"/>
                </a:cubicBezTo>
                <a:close/>
                <a:moveTo>
                  <a:pt x="1325352" y="389639"/>
                </a:moveTo>
                <a:lnTo>
                  <a:pt x="1262665" y="389639"/>
                </a:lnTo>
                <a:cubicBezTo>
                  <a:pt x="1264191" y="409967"/>
                  <a:pt x="1274869" y="420823"/>
                  <a:pt x="1294186" y="420823"/>
                </a:cubicBezTo>
                <a:cubicBezTo>
                  <a:pt x="1303339" y="420823"/>
                  <a:pt x="1313503" y="418783"/>
                  <a:pt x="1322656" y="413533"/>
                </a:cubicBezTo>
                <a:cubicBezTo>
                  <a:pt x="1322319" y="416584"/>
                  <a:pt x="1321645" y="421160"/>
                  <a:pt x="1320793" y="424885"/>
                </a:cubicBezTo>
                <a:cubicBezTo>
                  <a:pt x="1312315" y="429799"/>
                  <a:pt x="1303516" y="431324"/>
                  <a:pt x="1293849" y="431324"/>
                </a:cubicBezTo>
                <a:cubicBezTo>
                  <a:pt x="1265556" y="431324"/>
                  <a:pt x="1250638" y="414207"/>
                  <a:pt x="1250638" y="385063"/>
                </a:cubicBezTo>
                <a:cubicBezTo>
                  <a:pt x="1250638" y="359821"/>
                  <a:pt x="1261991" y="339830"/>
                  <a:pt x="1289769" y="339830"/>
                </a:cubicBezTo>
                <a:cubicBezTo>
                  <a:pt x="1315188" y="339830"/>
                  <a:pt x="1326026" y="357284"/>
                  <a:pt x="1326026" y="379138"/>
                </a:cubicBezTo>
                <a:cubicBezTo>
                  <a:pt x="1326026" y="382686"/>
                  <a:pt x="1325849" y="386251"/>
                  <a:pt x="1325352" y="389639"/>
                </a:cubicBezTo>
                <a:close/>
                <a:moveTo>
                  <a:pt x="1262647" y="378961"/>
                </a:moveTo>
                <a:lnTo>
                  <a:pt x="1314159" y="378961"/>
                </a:lnTo>
                <a:lnTo>
                  <a:pt x="1314159" y="378287"/>
                </a:lnTo>
                <a:cubicBezTo>
                  <a:pt x="1314159" y="361506"/>
                  <a:pt x="1306017" y="350154"/>
                  <a:pt x="1289255" y="350154"/>
                </a:cubicBezTo>
                <a:cubicBezTo>
                  <a:pt x="1272315" y="350154"/>
                  <a:pt x="1264013" y="361347"/>
                  <a:pt x="1262647" y="378961"/>
                </a:cubicBezTo>
                <a:close/>
                <a:moveTo>
                  <a:pt x="1470043" y="372007"/>
                </a:moveTo>
                <a:lnTo>
                  <a:pt x="1470043" y="429284"/>
                </a:lnTo>
                <a:lnTo>
                  <a:pt x="1458176" y="429284"/>
                </a:lnTo>
                <a:lnTo>
                  <a:pt x="1458176" y="373888"/>
                </a:lnTo>
                <a:cubicBezTo>
                  <a:pt x="1458176" y="358473"/>
                  <a:pt x="1450726" y="350331"/>
                  <a:pt x="1433272" y="350331"/>
                </a:cubicBezTo>
                <a:cubicBezTo>
                  <a:pt x="1425485" y="350331"/>
                  <a:pt x="1417857" y="352194"/>
                  <a:pt x="1410744" y="355245"/>
                </a:cubicBezTo>
                <a:cubicBezTo>
                  <a:pt x="1412607" y="359644"/>
                  <a:pt x="1413618" y="365249"/>
                  <a:pt x="1413618" y="372025"/>
                </a:cubicBezTo>
                <a:lnTo>
                  <a:pt x="1413618" y="429302"/>
                </a:lnTo>
                <a:lnTo>
                  <a:pt x="1401751" y="429302"/>
                </a:lnTo>
                <a:lnTo>
                  <a:pt x="1401751" y="373550"/>
                </a:lnTo>
                <a:cubicBezTo>
                  <a:pt x="1401751" y="357107"/>
                  <a:pt x="1394975" y="350331"/>
                  <a:pt x="1376846" y="350331"/>
                </a:cubicBezTo>
                <a:cubicBezTo>
                  <a:pt x="1370407" y="350331"/>
                  <a:pt x="1363117" y="351183"/>
                  <a:pt x="1356518" y="352708"/>
                </a:cubicBezTo>
                <a:lnTo>
                  <a:pt x="1356518" y="429284"/>
                </a:lnTo>
                <a:lnTo>
                  <a:pt x="1344651" y="429284"/>
                </a:lnTo>
                <a:lnTo>
                  <a:pt x="1344651" y="344566"/>
                </a:lnTo>
                <a:cubicBezTo>
                  <a:pt x="1356004" y="341515"/>
                  <a:pt x="1367197" y="339830"/>
                  <a:pt x="1378035" y="339830"/>
                </a:cubicBezTo>
                <a:cubicBezTo>
                  <a:pt x="1389902" y="339830"/>
                  <a:pt x="1398700" y="342030"/>
                  <a:pt x="1404642" y="346943"/>
                </a:cubicBezTo>
                <a:cubicBezTo>
                  <a:pt x="1413955" y="342544"/>
                  <a:pt x="1423959" y="339830"/>
                  <a:pt x="1434301" y="339830"/>
                </a:cubicBezTo>
                <a:cubicBezTo>
                  <a:pt x="1459879" y="339830"/>
                  <a:pt x="1470043" y="351520"/>
                  <a:pt x="1470043" y="372007"/>
                </a:cubicBezTo>
                <a:close/>
                <a:moveTo>
                  <a:pt x="1561538" y="389639"/>
                </a:moveTo>
                <a:lnTo>
                  <a:pt x="1498850" y="389639"/>
                </a:lnTo>
                <a:cubicBezTo>
                  <a:pt x="1500376" y="409967"/>
                  <a:pt x="1511054" y="420823"/>
                  <a:pt x="1530371" y="420823"/>
                </a:cubicBezTo>
                <a:cubicBezTo>
                  <a:pt x="1539524" y="420823"/>
                  <a:pt x="1549688" y="418783"/>
                  <a:pt x="1558841" y="413533"/>
                </a:cubicBezTo>
                <a:cubicBezTo>
                  <a:pt x="1558504" y="416584"/>
                  <a:pt x="1557830" y="421160"/>
                  <a:pt x="1556979" y="424885"/>
                </a:cubicBezTo>
                <a:cubicBezTo>
                  <a:pt x="1548500" y="429799"/>
                  <a:pt x="1539702" y="431324"/>
                  <a:pt x="1530034" y="431324"/>
                </a:cubicBezTo>
                <a:cubicBezTo>
                  <a:pt x="1501742" y="431324"/>
                  <a:pt x="1486824" y="414207"/>
                  <a:pt x="1486824" y="385063"/>
                </a:cubicBezTo>
                <a:cubicBezTo>
                  <a:pt x="1486824" y="359821"/>
                  <a:pt x="1498176" y="339830"/>
                  <a:pt x="1525972" y="339830"/>
                </a:cubicBezTo>
                <a:cubicBezTo>
                  <a:pt x="1551391" y="339830"/>
                  <a:pt x="1562229" y="357284"/>
                  <a:pt x="1562229" y="379138"/>
                </a:cubicBezTo>
                <a:cubicBezTo>
                  <a:pt x="1562212" y="382686"/>
                  <a:pt x="1562052" y="386251"/>
                  <a:pt x="1561538" y="389639"/>
                </a:cubicBezTo>
                <a:close/>
                <a:moveTo>
                  <a:pt x="1498850" y="378961"/>
                </a:moveTo>
                <a:lnTo>
                  <a:pt x="1550362" y="378961"/>
                </a:lnTo>
                <a:lnTo>
                  <a:pt x="1550362" y="378287"/>
                </a:lnTo>
                <a:cubicBezTo>
                  <a:pt x="1550362" y="361506"/>
                  <a:pt x="1542238" y="350154"/>
                  <a:pt x="1525458" y="350154"/>
                </a:cubicBezTo>
                <a:cubicBezTo>
                  <a:pt x="1508500" y="350154"/>
                  <a:pt x="1500198" y="361347"/>
                  <a:pt x="1498850" y="378961"/>
                </a:cubicBezTo>
                <a:close/>
                <a:moveTo>
                  <a:pt x="1650992" y="372007"/>
                </a:moveTo>
                <a:lnTo>
                  <a:pt x="1650992" y="429284"/>
                </a:lnTo>
                <a:lnTo>
                  <a:pt x="1639125" y="429284"/>
                </a:lnTo>
                <a:lnTo>
                  <a:pt x="1639125" y="374225"/>
                </a:lnTo>
                <a:cubicBezTo>
                  <a:pt x="1639125" y="358473"/>
                  <a:pt x="1633200" y="350331"/>
                  <a:pt x="1612358" y="350331"/>
                </a:cubicBezTo>
                <a:cubicBezTo>
                  <a:pt x="1606256" y="350331"/>
                  <a:pt x="1599143" y="351183"/>
                  <a:pt x="1592704" y="352708"/>
                </a:cubicBezTo>
                <a:lnTo>
                  <a:pt x="1592704" y="429284"/>
                </a:lnTo>
                <a:lnTo>
                  <a:pt x="1580837" y="429284"/>
                </a:lnTo>
                <a:lnTo>
                  <a:pt x="1580837" y="344566"/>
                </a:lnTo>
                <a:cubicBezTo>
                  <a:pt x="1592189" y="341515"/>
                  <a:pt x="1603205" y="339830"/>
                  <a:pt x="1612695" y="339830"/>
                </a:cubicBezTo>
                <a:cubicBezTo>
                  <a:pt x="1641342" y="339830"/>
                  <a:pt x="1650992" y="351520"/>
                  <a:pt x="1650992" y="372007"/>
                </a:cubicBezTo>
                <a:close/>
                <a:moveTo>
                  <a:pt x="1715045" y="418446"/>
                </a:moveTo>
                <a:cubicBezTo>
                  <a:pt x="1714708" y="421674"/>
                  <a:pt x="1714193" y="425400"/>
                  <a:pt x="1713519" y="428610"/>
                </a:cubicBezTo>
                <a:cubicBezTo>
                  <a:pt x="1708428" y="430473"/>
                  <a:pt x="1703515" y="431324"/>
                  <a:pt x="1698264" y="431324"/>
                </a:cubicBezTo>
                <a:cubicBezTo>
                  <a:pt x="1681998" y="431324"/>
                  <a:pt x="1671994" y="423200"/>
                  <a:pt x="1671994" y="404220"/>
                </a:cubicBezTo>
                <a:lnTo>
                  <a:pt x="1671994" y="312903"/>
                </a:lnTo>
                <a:cubicBezTo>
                  <a:pt x="1675559" y="311715"/>
                  <a:pt x="1680295" y="311041"/>
                  <a:pt x="1683861" y="311041"/>
                </a:cubicBezTo>
                <a:lnTo>
                  <a:pt x="1683861" y="342384"/>
                </a:lnTo>
                <a:lnTo>
                  <a:pt x="1714530" y="342384"/>
                </a:lnTo>
                <a:cubicBezTo>
                  <a:pt x="1714353" y="346446"/>
                  <a:pt x="1714016" y="349834"/>
                  <a:pt x="1713342" y="353063"/>
                </a:cubicBezTo>
                <a:lnTo>
                  <a:pt x="1683861" y="353063"/>
                </a:lnTo>
                <a:lnTo>
                  <a:pt x="1683861" y="402872"/>
                </a:lnTo>
                <a:cubicBezTo>
                  <a:pt x="1683861" y="415750"/>
                  <a:pt x="1689785" y="421178"/>
                  <a:pt x="1700304" y="421178"/>
                </a:cubicBezTo>
                <a:cubicBezTo>
                  <a:pt x="1705058" y="421160"/>
                  <a:pt x="1710468" y="420131"/>
                  <a:pt x="1715045" y="418446"/>
                </a:cubicBezTo>
                <a:close/>
                <a:moveTo>
                  <a:pt x="190935" y="116097"/>
                </a:moveTo>
                <a:cubicBezTo>
                  <a:pt x="190545" y="106962"/>
                  <a:pt x="187990" y="97898"/>
                  <a:pt x="183254" y="89720"/>
                </a:cubicBezTo>
                <a:lnTo>
                  <a:pt x="141534" y="17472"/>
                </a:lnTo>
                <a:cubicBezTo>
                  <a:pt x="138359" y="11956"/>
                  <a:pt x="136159" y="6049"/>
                  <a:pt x="134935" y="0"/>
                </a:cubicBezTo>
                <a:lnTo>
                  <a:pt x="133197" y="3016"/>
                </a:lnTo>
                <a:cubicBezTo>
                  <a:pt x="122873" y="20896"/>
                  <a:pt x="122873" y="42927"/>
                  <a:pt x="133197" y="60807"/>
                </a:cubicBezTo>
                <a:lnTo>
                  <a:pt x="166563" y="118598"/>
                </a:lnTo>
                <a:cubicBezTo>
                  <a:pt x="176886" y="136478"/>
                  <a:pt x="176886" y="158509"/>
                  <a:pt x="166563" y="176389"/>
                </a:cubicBezTo>
                <a:lnTo>
                  <a:pt x="164824" y="179405"/>
                </a:lnTo>
                <a:cubicBezTo>
                  <a:pt x="163600" y="173356"/>
                  <a:pt x="161401" y="167449"/>
                  <a:pt x="158226" y="161933"/>
                </a:cubicBezTo>
                <a:lnTo>
                  <a:pt x="127680" y="109037"/>
                </a:lnTo>
                <a:lnTo>
                  <a:pt x="108168" y="75264"/>
                </a:lnTo>
                <a:cubicBezTo>
                  <a:pt x="104993" y="69747"/>
                  <a:pt x="102793" y="63858"/>
                  <a:pt x="101569" y="57791"/>
                </a:cubicBezTo>
                <a:lnTo>
                  <a:pt x="99831" y="60807"/>
                </a:lnTo>
                <a:cubicBezTo>
                  <a:pt x="89543" y="78634"/>
                  <a:pt x="89507" y="100576"/>
                  <a:pt x="99725" y="118421"/>
                </a:cubicBezTo>
                <a:lnTo>
                  <a:pt x="99725" y="118421"/>
                </a:lnTo>
                <a:lnTo>
                  <a:pt x="133197" y="176389"/>
                </a:lnTo>
                <a:cubicBezTo>
                  <a:pt x="143521" y="194270"/>
                  <a:pt x="143521" y="216301"/>
                  <a:pt x="133197" y="234181"/>
                </a:cubicBezTo>
                <a:lnTo>
                  <a:pt x="131459" y="237196"/>
                </a:lnTo>
                <a:cubicBezTo>
                  <a:pt x="130235" y="231148"/>
                  <a:pt x="128035" y="225241"/>
                  <a:pt x="124860" y="219724"/>
                </a:cubicBezTo>
                <a:lnTo>
                  <a:pt x="83157" y="147494"/>
                </a:lnTo>
                <a:cubicBezTo>
                  <a:pt x="77570" y="137809"/>
                  <a:pt x="75015" y="126900"/>
                  <a:pt x="75476" y="116097"/>
                </a:cubicBezTo>
                <a:cubicBezTo>
                  <a:pt x="30811" y="127769"/>
                  <a:pt x="0" y="152531"/>
                  <a:pt x="0" y="181214"/>
                </a:cubicBezTo>
                <a:cubicBezTo>
                  <a:pt x="0" y="221108"/>
                  <a:pt x="59636" y="253462"/>
                  <a:pt x="133197" y="253462"/>
                </a:cubicBezTo>
                <a:cubicBezTo>
                  <a:pt x="206758" y="253462"/>
                  <a:pt x="266394" y="221125"/>
                  <a:pt x="266394" y="181214"/>
                </a:cubicBezTo>
                <a:cubicBezTo>
                  <a:pt x="266394" y="152531"/>
                  <a:pt x="235582" y="127751"/>
                  <a:pt x="190935" y="116097"/>
                </a:cubicBezTo>
                <a:close/>
                <a:moveTo>
                  <a:pt x="316682" y="239449"/>
                </a:moveTo>
                <a:cubicBezTo>
                  <a:pt x="317178" y="229196"/>
                  <a:pt x="318686" y="222190"/>
                  <a:pt x="321436" y="214172"/>
                </a:cubicBezTo>
                <a:cubicBezTo>
                  <a:pt x="335449" y="220682"/>
                  <a:pt x="353453" y="223928"/>
                  <a:pt x="367218" y="223928"/>
                </a:cubicBezTo>
                <a:cubicBezTo>
                  <a:pt x="390491" y="223928"/>
                  <a:pt x="403493" y="216425"/>
                  <a:pt x="403493" y="201667"/>
                </a:cubicBezTo>
                <a:cubicBezTo>
                  <a:pt x="403493" y="187157"/>
                  <a:pt x="393985" y="180398"/>
                  <a:pt x="370464" y="170146"/>
                </a:cubicBezTo>
                <a:lnTo>
                  <a:pt x="357710" y="164647"/>
                </a:lnTo>
                <a:cubicBezTo>
                  <a:pt x="334189" y="154394"/>
                  <a:pt x="318172" y="141126"/>
                  <a:pt x="318172" y="114607"/>
                </a:cubicBezTo>
                <a:cubicBezTo>
                  <a:pt x="318172" y="86084"/>
                  <a:pt x="337932" y="67813"/>
                  <a:pt x="378464" y="67813"/>
                </a:cubicBezTo>
                <a:cubicBezTo>
                  <a:pt x="394730" y="67813"/>
                  <a:pt x="409985" y="70066"/>
                  <a:pt x="424247" y="75068"/>
                </a:cubicBezTo>
                <a:cubicBezTo>
                  <a:pt x="423502" y="85073"/>
                  <a:pt x="421746" y="92824"/>
                  <a:pt x="419245" y="100097"/>
                </a:cubicBezTo>
                <a:cubicBezTo>
                  <a:pt x="405728" y="95095"/>
                  <a:pt x="389728" y="92842"/>
                  <a:pt x="378216" y="92842"/>
                </a:cubicBezTo>
                <a:cubicBezTo>
                  <a:pt x="356451" y="92842"/>
                  <a:pt x="346447" y="101357"/>
                  <a:pt x="346447" y="114607"/>
                </a:cubicBezTo>
                <a:cubicBezTo>
                  <a:pt x="346447" y="127627"/>
                  <a:pt x="356203" y="135130"/>
                  <a:pt x="373710" y="142634"/>
                </a:cubicBezTo>
                <a:lnTo>
                  <a:pt x="387227" y="148381"/>
                </a:lnTo>
                <a:cubicBezTo>
                  <a:pt x="418996" y="161897"/>
                  <a:pt x="432264" y="176159"/>
                  <a:pt x="432264" y="200425"/>
                </a:cubicBezTo>
                <a:cubicBezTo>
                  <a:pt x="432264" y="229196"/>
                  <a:pt x="410500" y="248957"/>
                  <a:pt x="367963" y="248957"/>
                </a:cubicBezTo>
                <a:cubicBezTo>
                  <a:pt x="347458" y="248957"/>
                  <a:pt x="330695" y="245941"/>
                  <a:pt x="316682" y="239449"/>
                </a:cubicBezTo>
                <a:close/>
                <a:moveTo>
                  <a:pt x="566632" y="119840"/>
                </a:moveTo>
                <a:lnTo>
                  <a:pt x="566632" y="244948"/>
                </a:lnTo>
                <a:lnTo>
                  <a:pt x="541373" y="244948"/>
                </a:lnTo>
                <a:lnTo>
                  <a:pt x="539865" y="229941"/>
                </a:lnTo>
                <a:cubicBezTo>
                  <a:pt x="532858" y="240957"/>
                  <a:pt x="522109" y="247946"/>
                  <a:pt x="504584" y="247946"/>
                </a:cubicBezTo>
                <a:cubicBezTo>
                  <a:pt x="471555" y="247946"/>
                  <a:pt x="449542" y="223928"/>
                  <a:pt x="449542" y="181888"/>
                </a:cubicBezTo>
                <a:cubicBezTo>
                  <a:pt x="449542" y="137844"/>
                  <a:pt x="473063" y="112833"/>
                  <a:pt x="519342" y="112833"/>
                </a:cubicBezTo>
                <a:cubicBezTo>
                  <a:pt x="537364" y="112833"/>
                  <a:pt x="552122" y="114838"/>
                  <a:pt x="566632" y="119840"/>
                </a:cubicBezTo>
                <a:close/>
                <a:moveTo>
                  <a:pt x="539120" y="216425"/>
                </a:moveTo>
                <a:lnTo>
                  <a:pt x="539120" y="137862"/>
                </a:lnTo>
                <a:cubicBezTo>
                  <a:pt x="533373" y="136869"/>
                  <a:pt x="527111" y="136354"/>
                  <a:pt x="519360" y="136354"/>
                </a:cubicBezTo>
                <a:cubicBezTo>
                  <a:pt x="490836" y="136354"/>
                  <a:pt x="477568" y="153862"/>
                  <a:pt x="477568" y="181888"/>
                </a:cubicBezTo>
                <a:cubicBezTo>
                  <a:pt x="477568" y="207414"/>
                  <a:pt x="487821" y="225418"/>
                  <a:pt x="512353" y="225418"/>
                </a:cubicBezTo>
                <a:cubicBezTo>
                  <a:pt x="523102" y="225436"/>
                  <a:pt x="531865" y="221924"/>
                  <a:pt x="539120" y="216425"/>
                </a:cubicBezTo>
                <a:close/>
                <a:moveTo>
                  <a:pt x="707510" y="160886"/>
                </a:moveTo>
                <a:lnTo>
                  <a:pt x="707510" y="244948"/>
                </a:lnTo>
                <a:lnTo>
                  <a:pt x="679980" y="244948"/>
                </a:lnTo>
                <a:lnTo>
                  <a:pt x="679980" y="165640"/>
                </a:lnTo>
                <a:cubicBezTo>
                  <a:pt x="679980" y="145880"/>
                  <a:pt x="673470" y="136372"/>
                  <a:pt x="645958" y="136372"/>
                </a:cubicBezTo>
                <a:cubicBezTo>
                  <a:pt x="639448" y="136372"/>
                  <a:pt x="631696" y="137117"/>
                  <a:pt x="624193" y="138376"/>
                </a:cubicBezTo>
                <a:lnTo>
                  <a:pt x="624193" y="244966"/>
                </a:lnTo>
                <a:lnTo>
                  <a:pt x="596663" y="244966"/>
                </a:lnTo>
                <a:lnTo>
                  <a:pt x="596663" y="119840"/>
                </a:lnTo>
                <a:cubicBezTo>
                  <a:pt x="614171" y="115583"/>
                  <a:pt x="633435" y="112833"/>
                  <a:pt x="646703" y="112833"/>
                </a:cubicBezTo>
                <a:cubicBezTo>
                  <a:pt x="692751" y="112833"/>
                  <a:pt x="707510" y="130607"/>
                  <a:pt x="707510" y="160886"/>
                </a:cubicBezTo>
                <a:close/>
                <a:moveTo>
                  <a:pt x="783820" y="224425"/>
                </a:moveTo>
                <a:cubicBezTo>
                  <a:pt x="791820" y="224425"/>
                  <a:pt x="799341" y="222917"/>
                  <a:pt x="805336" y="220664"/>
                </a:cubicBezTo>
                <a:cubicBezTo>
                  <a:pt x="804591" y="228168"/>
                  <a:pt x="803580" y="236682"/>
                  <a:pt x="802090" y="243937"/>
                </a:cubicBezTo>
                <a:cubicBezTo>
                  <a:pt x="794587" y="246935"/>
                  <a:pt x="786587" y="247946"/>
                  <a:pt x="778818" y="247946"/>
                </a:cubicBezTo>
                <a:cubicBezTo>
                  <a:pt x="752050" y="247946"/>
                  <a:pt x="735039" y="235689"/>
                  <a:pt x="735039" y="205161"/>
                </a:cubicBezTo>
                <a:lnTo>
                  <a:pt x="735039" y="73809"/>
                </a:lnTo>
                <a:cubicBezTo>
                  <a:pt x="743554" y="71060"/>
                  <a:pt x="754055" y="69800"/>
                  <a:pt x="762569" y="69800"/>
                </a:cubicBezTo>
                <a:lnTo>
                  <a:pt x="762569" y="117090"/>
                </a:lnTo>
                <a:lnTo>
                  <a:pt x="806099" y="117090"/>
                </a:lnTo>
                <a:cubicBezTo>
                  <a:pt x="805602" y="125605"/>
                  <a:pt x="804857" y="133356"/>
                  <a:pt x="803598" y="140611"/>
                </a:cubicBezTo>
                <a:lnTo>
                  <a:pt x="762569" y="140611"/>
                </a:lnTo>
                <a:lnTo>
                  <a:pt x="762569" y="201915"/>
                </a:lnTo>
                <a:cubicBezTo>
                  <a:pt x="762552" y="218181"/>
                  <a:pt x="770569" y="224425"/>
                  <a:pt x="783820" y="224425"/>
                </a:cubicBezTo>
                <a:close/>
                <a:moveTo>
                  <a:pt x="931456" y="119840"/>
                </a:moveTo>
                <a:lnTo>
                  <a:pt x="931456" y="244948"/>
                </a:lnTo>
                <a:lnTo>
                  <a:pt x="906178" y="244948"/>
                </a:lnTo>
                <a:lnTo>
                  <a:pt x="904671" y="229941"/>
                </a:lnTo>
                <a:cubicBezTo>
                  <a:pt x="897664" y="240957"/>
                  <a:pt x="886915" y="247946"/>
                  <a:pt x="869389" y="247946"/>
                </a:cubicBezTo>
                <a:cubicBezTo>
                  <a:pt x="836361" y="247946"/>
                  <a:pt x="814347" y="223928"/>
                  <a:pt x="814347" y="181888"/>
                </a:cubicBezTo>
                <a:cubicBezTo>
                  <a:pt x="814347" y="137844"/>
                  <a:pt x="837868" y="112833"/>
                  <a:pt x="884148" y="112833"/>
                </a:cubicBezTo>
                <a:cubicBezTo>
                  <a:pt x="902170" y="112833"/>
                  <a:pt x="916928" y="114838"/>
                  <a:pt x="931456" y="119840"/>
                </a:cubicBezTo>
                <a:close/>
                <a:moveTo>
                  <a:pt x="903926" y="216425"/>
                </a:moveTo>
                <a:lnTo>
                  <a:pt x="903926" y="137862"/>
                </a:lnTo>
                <a:cubicBezTo>
                  <a:pt x="898179" y="136869"/>
                  <a:pt x="891917" y="136354"/>
                  <a:pt x="884165" y="136354"/>
                </a:cubicBezTo>
                <a:cubicBezTo>
                  <a:pt x="855642" y="136354"/>
                  <a:pt x="842374" y="153862"/>
                  <a:pt x="842374" y="181888"/>
                </a:cubicBezTo>
                <a:cubicBezTo>
                  <a:pt x="842374" y="207414"/>
                  <a:pt x="852627" y="225418"/>
                  <a:pt x="877159" y="225418"/>
                </a:cubicBezTo>
                <a:cubicBezTo>
                  <a:pt x="887908" y="225436"/>
                  <a:pt x="896671" y="221924"/>
                  <a:pt x="903926" y="216425"/>
                </a:cubicBezTo>
                <a:close/>
                <a:moveTo>
                  <a:pt x="1072315" y="160886"/>
                </a:moveTo>
                <a:lnTo>
                  <a:pt x="1072315" y="244948"/>
                </a:lnTo>
                <a:lnTo>
                  <a:pt x="1044786" y="244948"/>
                </a:lnTo>
                <a:lnTo>
                  <a:pt x="1044786" y="165640"/>
                </a:lnTo>
                <a:cubicBezTo>
                  <a:pt x="1044786" y="145880"/>
                  <a:pt x="1038276" y="136372"/>
                  <a:pt x="1010763" y="136372"/>
                </a:cubicBezTo>
                <a:cubicBezTo>
                  <a:pt x="1004254" y="136372"/>
                  <a:pt x="996502" y="137117"/>
                  <a:pt x="988999" y="138376"/>
                </a:cubicBezTo>
                <a:lnTo>
                  <a:pt x="988999" y="244966"/>
                </a:lnTo>
                <a:lnTo>
                  <a:pt x="961469" y="244966"/>
                </a:lnTo>
                <a:lnTo>
                  <a:pt x="961469" y="119840"/>
                </a:lnTo>
                <a:cubicBezTo>
                  <a:pt x="978977" y="115583"/>
                  <a:pt x="998240" y="112833"/>
                  <a:pt x="1011508" y="112833"/>
                </a:cubicBezTo>
                <a:cubicBezTo>
                  <a:pt x="1057557" y="112833"/>
                  <a:pt x="1072315" y="130607"/>
                  <a:pt x="1072315" y="160886"/>
                </a:cubicBezTo>
                <a:close/>
                <a:moveTo>
                  <a:pt x="1211933" y="69800"/>
                </a:moveTo>
                <a:lnTo>
                  <a:pt x="1211933" y="244930"/>
                </a:lnTo>
                <a:lnTo>
                  <a:pt x="1186656" y="244930"/>
                </a:lnTo>
                <a:lnTo>
                  <a:pt x="1185149" y="228913"/>
                </a:lnTo>
                <a:cubicBezTo>
                  <a:pt x="1178142" y="240673"/>
                  <a:pt x="1167393" y="247928"/>
                  <a:pt x="1149371" y="247928"/>
                </a:cubicBezTo>
                <a:cubicBezTo>
                  <a:pt x="1116342" y="247928"/>
                  <a:pt x="1094329" y="223910"/>
                  <a:pt x="1094329" y="181871"/>
                </a:cubicBezTo>
                <a:cubicBezTo>
                  <a:pt x="1094329" y="137826"/>
                  <a:pt x="1117850" y="112815"/>
                  <a:pt x="1164129" y="112815"/>
                </a:cubicBezTo>
                <a:cubicBezTo>
                  <a:pt x="1171384" y="112815"/>
                  <a:pt x="1178142" y="113560"/>
                  <a:pt x="1184652" y="114820"/>
                </a:cubicBezTo>
                <a:lnTo>
                  <a:pt x="1184652" y="73561"/>
                </a:lnTo>
                <a:cubicBezTo>
                  <a:pt x="1193166" y="70563"/>
                  <a:pt x="1202922" y="69800"/>
                  <a:pt x="1211933" y="69800"/>
                </a:cubicBezTo>
                <a:close/>
                <a:moveTo>
                  <a:pt x="1184652" y="215928"/>
                </a:moveTo>
                <a:lnTo>
                  <a:pt x="1184652" y="138855"/>
                </a:lnTo>
                <a:cubicBezTo>
                  <a:pt x="1177397" y="137348"/>
                  <a:pt x="1169894" y="136354"/>
                  <a:pt x="1162639" y="136354"/>
                </a:cubicBezTo>
                <a:cubicBezTo>
                  <a:pt x="1135375" y="136354"/>
                  <a:pt x="1122355" y="153365"/>
                  <a:pt x="1122355" y="181888"/>
                </a:cubicBezTo>
                <a:cubicBezTo>
                  <a:pt x="1122355" y="207414"/>
                  <a:pt x="1132608" y="225418"/>
                  <a:pt x="1157140" y="225418"/>
                </a:cubicBezTo>
                <a:cubicBezTo>
                  <a:pt x="1168138" y="225436"/>
                  <a:pt x="1177149" y="221675"/>
                  <a:pt x="1184652" y="215928"/>
                </a:cubicBezTo>
                <a:close/>
                <a:moveTo>
                  <a:pt x="1350292" y="191396"/>
                </a:moveTo>
                <a:lnTo>
                  <a:pt x="1262470" y="191396"/>
                </a:lnTo>
                <a:cubicBezTo>
                  <a:pt x="1265964" y="213658"/>
                  <a:pt x="1278984" y="224425"/>
                  <a:pt x="1303499" y="224425"/>
                </a:cubicBezTo>
                <a:cubicBezTo>
                  <a:pt x="1318505" y="224425"/>
                  <a:pt x="1333778" y="221179"/>
                  <a:pt x="1347525" y="214917"/>
                </a:cubicBezTo>
                <a:cubicBezTo>
                  <a:pt x="1346532" y="222172"/>
                  <a:pt x="1345024" y="231680"/>
                  <a:pt x="1343268" y="239928"/>
                </a:cubicBezTo>
                <a:cubicBezTo>
                  <a:pt x="1330762" y="245675"/>
                  <a:pt x="1317494" y="247928"/>
                  <a:pt x="1302736" y="247928"/>
                </a:cubicBezTo>
                <a:cubicBezTo>
                  <a:pt x="1256705" y="247928"/>
                  <a:pt x="1234426" y="222403"/>
                  <a:pt x="1234426" y="179618"/>
                </a:cubicBezTo>
                <a:cubicBezTo>
                  <a:pt x="1234426" y="142332"/>
                  <a:pt x="1251685" y="112815"/>
                  <a:pt x="1295481" y="112815"/>
                </a:cubicBezTo>
                <a:cubicBezTo>
                  <a:pt x="1334753" y="112815"/>
                  <a:pt x="1351782" y="138589"/>
                  <a:pt x="1351782" y="170110"/>
                </a:cubicBezTo>
                <a:cubicBezTo>
                  <a:pt x="1351800" y="177897"/>
                  <a:pt x="1351303" y="184141"/>
                  <a:pt x="1350292" y="191396"/>
                </a:cubicBezTo>
                <a:close/>
                <a:moveTo>
                  <a:pt x="1261973" y="168390"/>
                </a:moveTo>
                <a:lnTo>
                  <a:pt x="1324022" y="168390"/>
                </a:lnTo>
                <a:cubicBezTo>
                  <a:pt x="1324022" y="147866"/>
                  <a:pt x="1313006" y="135858"/>
                  <a:pt x="1293991" y="135858"/>
                </a:cubicBezTo>
                <a:cubicBezTo>
                  <a:pt x="1274479" y="135858"/>
                  <a:pt x="1264226" y="147121"/>
                  <a:pt x="1261973" y="168390"/>
                </a:cubicBezTo>
                <a:close/>
                <a:moveTo>
                  <a:pt x="1446629" y="113844"/>
                </a:moveTo>
                <a:cubicBezTo>
                  <a:pt x="1446629" y="122110"/>
                  <a:pt x="1445635" y="132115"/>
                  <a:pt x="1444128" y="137365"/>
                </a:cubicBezTo>
                <a:cubicBezTo>
                  <a:pt x="1437618" y="136620"/>
                  <a:pt x="1431126" y="136372"/>
                  <a:pt x="1423356" y="136372"/>
                </a:cubicBezTo>
                <a:cubicBezTo>
                  <a:pt x="1416598" y="136372"/>
                  <a:pt x="1409840" y="136869"/>
                  <a:pt x="1403099" y="137880"/>
                </a:cubicBezTo>
                <a:lnTo>
                  <a:pt x="1403099" y="244966"/>
                </a:lnTo>
                <a:lnTo>
                  <a:pt x="1375569" y="244966"/>
                </a:lnTo>
                <a:lnTo>
                  <a:pt x="1375569" y="119840"/>
                </a:lnTo>
                <a:cubicBezTo>
                  <a:pt x="1387330" y="115831"/>
                  <a:pt x="1407090" y="112833"/>
                  <a:pt x="1422611" y="112833"/>
                </a:cubicBezTo>
                <a:cubicBezTo>
                  <a:pt x="1431108" y="112833"/>
                  <a:pt x="1440616" y="113099"/>
                  <a:pt x="1446629" y="113844"/>
                </a:cubicBezTo>
                <a:close/>
              </a:path>
            </a:pathLst>
          </a:custGeom>
          <a:solidFill>
            <a:schemeClr val="bg1"/>
          </a:solidFill>
          <a:ln w="1773" cap="flat">
            <a:noFill/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52848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_DT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39175EB-A6F1-4463-9476-78BB190E4B5E}"/>
              </a:ext>
            </a:extLst>
          </p:cNvPr>
          <p:cNvSpPr/>
          <p:nvPr userDrawn="1"/>
        </p:nvSpPr>
        <p:spPr>
          <a:xfrm>
            <a:off x="0" y="0"/>
            <a:ext cx="12192000" cy="698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B2CE2F8-B113-49C1-8547-184D1781E7C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32057" y="2966693"/>
            <a:ext cx="2111953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9C53E21-99C2-4852-BA0C-70E066691AB7}"/>
              </a:ext>
            </a:extLst>
          </p:cNvPr>
          <p:cNvCxnSpPr>
            <a:cxnSpLocks/>
          </p:cNvCxnSpPr>
          <p:nvPr userDrawn="1"/>
        </p:nvCxnSpPr>
        <p:spPr>
          <a:xfrm>
            <a:off x="6116757" y="3109804"/>
            <a:ext cx="204065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A9BDE23-23DF-4891-80AB-6B531FD95491}"/>
              </a:ext>
            </a:extLst>
          </p:cNvPr>
          <p:cNvCxnSpPr>
            <a:cxnSpLocks/>
          </p:cNvCxnSpPr>
          <p:nvPr userDrawn="1"/>
        </p:nvCxnSpPr>
        <p:spPr>
          <a:xfrm>
            <a:off x="3832058" y="3663874"/>
            <a:ext cx="2255221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7499DA0-FC3E-4270-9383-217F6E3C6C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47989" y="2376889"/>
            <a:ext cx="1909422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/>
              <a:t>Gracias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0736881D-BBF2-444C-8441-265893FC95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3274" y="5925848"/>
            <a:ext cx="3181298" cy="54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963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enu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9">
            <a:extLst>
              <a:ext uri="{FF2B5EF4-FFF2-40B4-BE49-F238E27FC236}">
                <a16:creationId xmlns:a16="http://schemas.microsoft.com/office/drawing/2014/main" id="{0B429C32-CFE7-4D4D-92DC-A9FFC374214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80975" y="6455099"/>
            <a:ext cx="376239" cy="180177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>
            <a:lvl1pPr algn="r">
              <a:defRPr lang="es-ES" sz="1000" b="0" i="0" smtClean="0">
                <a:solidFill>
                  <a:srgbClr val="005370"/>
                </a:solidFill>
                <a:latin typeface="Santander Headline"/>
                <a:cs typeface="Santander Headline"/>
              </a:defRPr>
            </a:lvl1pPr>
          </a:lstStyle>
          <a:p>
            <a:pPr marL="107314">
              <a:spcBef>
                <a:spcPts val="204"/>
              </a:spcBef>
            </a:pPr>
            <a:fld id="{81D60167-4931-47E6-BA6A-407CBD079E47}" type="slidenum">
              <a:rPr lang="es-ES" smtClean="0"/>
              <a:pPr marL="107314">
                <a:spcBef>
                  <a:spcPts val="204"/>
                </a:spcBef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1698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_0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525BFB9F-A664-4A6B-8166-6B2BB3BBE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145"/>
            <a:ext cx="12191999" cy="5551712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BCC703BB-CD97-4DC0-9769-DBAED9EFB152}"/>
              </a:ext>
            </a:extLst>
          </p:cNvPr>
          <p:cNvSpPr/>
          <p:nvPr userDrawn="1"/>
        </p:nvSpPr>
        <p:spPr>
          <a:xfrm>
            <a:off x="0" y="653144"/>
            <a:ext cx="11955780" cy="5464174"/>
          </a:xfrm>
          <a:prstGeom prst="rect">
            <a:avLst/>
          </a:prstGeom>
          <a:gradFill flip="none" rotWithShape="1">
            <a:gsLst>
              <a:gs pos="54000">
                <a:schemeClr val="accent1">
                  <a:alpha val="36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1E7C1E5-3C31-4DE9-A8EB-4D0E866E41C3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5B3C424-DB64-4A80-ABDE-080E8220A3D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FC2C37-73FD-469E-AEEB-036833F3979F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8BC40F42-C737-423E-8BCF-90CBAB91E4EE}"/>
              </a:ext>
            </a:extLst>
          </p:cNvPr>
          <p:cNvCxnSpPr>
            <a:cxnSpLocks/>
          </p:cNvCxnSpPr>
          <p:nvPr userDrawn="1"/>
        </p:nvCxnSpPr>
        <p:spPr>
          <a:xfrm>
            <a:off x="2115054" y="35309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BB381F8E-DC47-4F62-A060-8D0B3656EC4A}"/>
              </a:ext>
            </a:extLst>
          </p:cNvPr>
          <p:cNvCxnSpPr>
            <a:cxnSpLocks/>
          </p:cNvCxnSpPr>
          <p:nvPr userDrawn="1"/>
        </p:nvCxnSpPr>
        <p:spPr>
          <a:xfrm>
            <a:off x="6147198" y="30797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DC3012CF-A3F9-4E31-B261-1CE8089D266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29267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E6E0B8DB-29B0-4CEE-8795-3BFF3B0207A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23588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24052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_05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E846C4AB-7134-460E-A356-9F9CFC90B1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5" y="637807"/>
            <a:ext cx="12182476" cy="5896344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89065A16-2004-462F-81B2-AEBBBA83A9E8}"/>
              </a:ext>
            </a:extLst>
          </p:cNvPr>
          <p:cNvSpPr/>
          <p:nvPr userDrawn="1"/>
        </p:nvSpPr>
        <p:spPr>
          <a:xfrm>
            <a:off x="-1" y="637807"/>
            <a:ext cx="12192001" cy="6220193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71000"/>
                </a:schemeClr>
              </a:gs>
              <a:gs pos="4400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1E7C1E5-3C31-4DE9-A8EB-4D0E866E41C3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5B3C424-DB64-4A80-ABDE-080E8220A3D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FC2C37-73FD-469E-AEEB-036833F3979F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017AEF31-2D86-48F9-9861-27D4B546456F}"/>
              </a:ext>
            </a:extLst>
          </p:cNvPr>
          <p:cNvCxnSpPr>
            <a:cxnSpLocks/>
          </p:cNvCxnSpPr>
          <p:nvPr userDrawn="1"/>
        </p:nvCxnSpPr>
        <p:spPr>
          <a:xfrm>
            <a:off x="2115054" y="35309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DBD5407F-3EB9-43A8-A3F3-F74CDA9CC5AB}"/>
              </a:ext>
            </a:extLst>
          </p:cNvPr>
          <p:cNvCxnSpPr>
            <a:cxnSpLocks/>
          </p:cNvCxnSpPr>
          <p:nvPr userDrawn="1"/>
        </p:nvCxnSpPr>
        <p:spPr>
          <a:xfrm>
            <a:off x="6147198" y="30797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3FF75DF3-7F8C-4DAE-A209-547F2A87DA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29267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F596EFE0-11D3-4BF4-A9D4-FDDE2F9ED4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23588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12886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DFBCE102-0B1D-4047-A4E7-B62B88CB80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71" y="845991"/>
            <a:ext cx="6226630" cy="6012009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1076D1-219C-4FC1-8D80-8F1F629A9690}"/>
              </a:ext>
            </a:extLst>
          </p:cNvPr>
          <p:cNvCxnSpPr>
            <a:cxnSpLocks/>
          </p:cNvCxnSpPr>
          <p:nvPr userDrawn="1"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ED64DCC0-A7B7-4FE9-B365-612F9ECAB20E}"/>
              </a:ext>
            </a:extLst>
          </p:cNvPr>
          <p:cNvCxnSpPr>
            <a:cxnSpLocks/>
          </p:cNvCxnSpPr>
          <p:nvPr userDrawn="1"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8011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6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7C2D42DF-40DF-4E77-911C-4D86E599CE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70" y="873125"/>
            <a:ext cx="6226630" cy="5984875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46E030D6-43DE-460E-851D-BE19C1324EF9}"/>
              </a:ext>
            </a:extLst>
          </p:cNvPr>
          <p:cNvCxnSpPr>
            <a:cxnSpLocks/>
          </p:cNvCxnSpPr>
          <p:nvPr userDrawn="1"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DB9FE630-C55B-455F-ADB3-F0E349F8428F}"/>
              </a:ext>
            </a:extLst>
          </p:cNvPr>
          <p:cNvCxnSpPr>
            <a:cxnSpLocks/>
          </p:cNvCxnSpPr>
          <p:nvPr userDrawn="1"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6921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61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image" Target="../media/image2.sv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áfico 4">
            <a:extLst>
              <a:ext uri="{FF2B5EF4-FFF2-40B4-BE49-F238E27FC236}">
                <a16:creationId xmlns:a16="http://schemas.microsoft.com/office/drawing/2014/main" id="{084ED6BD-187A-4FFC-83BA-17554F434F2C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42913" y="273212"/>
            <a:ext cx="838460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702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835" r:id="rId2"/>
    <p:sldLayoutId id="2147483837" r:id="rId3"/>
    <p:sldLayoutId id="2147483876" r:id="rId4"/>
    <p:sldLayoutId id="2147483877" r:id="rId5"/>
    <p:sldLayoutId id="2147483879" r:id="rId6"/>
    <p:sldLayoutId id="2147483881" r:id="rId7"/>
    <p:sldLayoutId id="2147483667" r:id="rId8"/>
    <p:sldLayoutId id="2147483846" r:id="rId9"/>
    <p:sldLayoutId id="2147483848" r:id="rId10"/>
    <p:sldLayoutId id="2147483747" r:id="rId11"/>
    <p:sldLayoutId id="2147483864" r:id="rId12"/>
    <p:sldLayoutId id="2147483852" r:id="rId13"/>
    <p:sldLayoutId id="2147483865" r:id="rId14"/>
    <p:sldLayoutId id="2147483853" r:id="rId15"/>
    <p:sldLayoutId id="2147483866" r:id="rId16"/>
    <p:sldLayoutId id="2147483855" r:id="rId17"/>
    <p:sldLayoutId id="2147483868" r:id="rId18"/>
    <p:sldLayoutId id="2147483785" r:id="rId19"/>
    <p:sldLayoutId id="2147483740" r:id="rId20"/>
    <p:sldLayoutId id="2147483789" r:id="rId21"/>
    <p:sldLayoutId id="2147483863" r:id="rId22"/>
    <p:sldLayoutId id="2147483862" r:id="rId23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13" userDrawn="1">
          <p15:clr>
            <a:srgbClr val="F26B43"/>
          </p15:clr>
        </p15:guide>
        <p15:guide id="3" orient="horz" pos="550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orient="horz" pos="278" userDrawn="1">
          <p15:clr>
            <a:srgbClr val="F26B43"/>
          </p15:clr>
        </p15:guide>
        <p15:guide id="6" pos="2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áfico 6">
            <a:extLst>
              <a:ext uri="{FF2B5EF4-FFF2-40B4-BE49-F238E27FC236}">
                <a16:creationId xmlns:a16="http://schemas.microsoft.com/office/drawing/2014/main" id="{4C123C35-58CB-4CF7-8A8B-06A19277FE58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42913" y="273212"/>
            <a:ext cx="838460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35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69" r:id="rId2"/>
    <p:sldLayoutId id="2147483771" r:id="rId3"/>
    <p:sldLayoutId id="2147483829" r:id="rId4"/>
    <p:sldLayoutId id="2147483772" r:id="rId5"/>
    <p:sldLayoutId id="2147483832" r:id="rId6"/>
    <p:sldLayoutId id="2147483773" r:id="rId7"/>
    <p:sldLayoutId id="2147483831" r:id="rId8"/>
    <p:sldLayoutId id="2147483774" r:id="rId9"/>
    <p:sldLayoutId id="2147483833" r:id="rId10"/>
    <p:sldLayoutId id="2147483775" r:id="rId11"/>
    <p:sldLayoutId id="2147483830" r:id="rId12"/>
    <p:sldLayoutId id="2147483794" r:id="rId13"/>
    <p:sldLayoutId id="2147483735" r:id="rId14"/>
    <p:sldLayoutId id="2147483741" r:id="rId15"/>
    <p:sldLayoutId id="2147483757" r:id="rId16"/>
    <p:sldLayoutId id="2147483758" r:id="rId17"/>
    <p:sldLayoutId id="2147483793" r:id="rId18"/>
    <p:sldLayoutId id="2147483796" r:id="rId19"/>
    <p:sldLayoutId id="2147483795" r:id="rId20"/>
    <p:sldLayoutId id="2147483797" r:id="rId21"/>
    <p:sldLayoutId id="2147483798" r:id="rId22"/>
    <p:sldLayoutId id="2147483736" r:id="rId23"/>
    <p:sldLayoutId id="2147483770" r:id="rId24"/>
    <p:sldLayoutId id="2147483738" r:id="rId25"/>
    <p:sldLayoutId id="2147483765" r:id="rId26"/>
    <p:sldLayoutId id="2147483826" r:id="rId27"/>
    <p:sldLayoutId id="2147483827" r:id="rId28"/>
    <p:sldLayoutId id="2147483882" r:id="rId29"/>
    <p:sldLayoutId id="2147483883" r:id="rId30"/>
    <p:sldLayoutId id="2147483884" r:id="rId3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01" userDrawn="1">
          <p15:clr>
            <a:srgbClr val="F26B43"/>
          </p15:clr>
        </p15:guide>
        <p15:guide id="2" pos="3024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orient="horz" pos="232" userDrawn="1">
          <p15:clr>
            <a:srgbClr val="F26B43"/>
          </p15:clr>
        </p15:guide>
        <p15:guide id="6" orient="horz" pos="504" userDrawn="1">
          <p15:clr>
            <a:srgbClr val="F26B43"/>
          </p15:clr>
        </p15:guide>
        <p15:guide id="7" pos="3386" userDrawn="1">
          <p15:clr>
            <a:srgbClr val="F26B43"/>
          </p15:clr>
        </p15:guide>
        <p15:guide id="8" pos="279" userDrawn="1">
          <p15:clr>
            <a:srgbClr val="F26B43"/>
          </p15:clr>
        </p15:guide>
        <p15:guide id="9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2.xml"/><Relationship Id="rId4" Type="http://schemas.openxmlformats.org/officeDocument/2006/relationships/image" Target="../media/image2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16z.com/100-gen-ai-apps-5/?utm_source=substack&amp;utm_medium=emai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.deeplearning.ai/e3t/Ctc/LX+113/cJhC404/VWH8-Q2M1pqmW1GZ6wq8DTT0kW2ZRfP15CmY_wM9V8k05nR3bW69t95C6lZ3l3W8Y-ZKF4FRx-FVkyhL269w7-SW5__gZV96L4XzW1Z64-M5VXL9GW4fG00J7ylZJMW4Ltpy33pxDwtV6Z4rD2GCpgjW2ZHbYZ2KHbmgW5-FRSj885JJ2W2qqTlV89t3PmW23rPHj3LzRN0W2_7K5-3Jlz4lW2VdmJg2QRlq8W3BSXx22YPddJW2jLFNY65gmh6W4yFQD65rbSr4W3xd3My1LYp1nW5wc2Yg3Rf1xcW4QWpjd48TjkpW8jDs4_28F5-mW8JWlGw4MTMLfVDJHCJ17S0X9W2vDQJV7BQH4HN6jf5FKnLdW1W7b9myF7Dxt0sW6QrnXZ8BcNKxW4z5T2g3dwFtXW2nL7sh5H5GX_W7GnHF37MG6V-W4Rd_hB6_STDwVXwH8S13FnLyW87-Dgn8DbpN8W1r3FbR2W-kjBW4BSR7r4cnyqsW7s2nWs4qM-B2W6fYTt97kPCmYf5m0HfF04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DD5914-BCDC-CF29-39B4-D03CEA154C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D5914-BCDC-CF29-39B4-D03CEA154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6"/>
          <p:cNvSpPr txBox="1"/>
          <p:nvPr/>
        </p:nvSpPr>
        <p:spPr>
          <a:xfrm>
            <a:off x="767875" y="5643884"/>
            <a:ext cx="3253104" cy="40908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88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kern="0" dirty="0">
                <a:solidFill>
                  <a:srgbClr val="FFFFFF"/>
                </a:solidFill>
                <a:latin typeface="Santander Headline"/>
                <a:cs typeface="Santander Headline"/>
              </a:rPr>
              <a:t>22</a:t>
            </a: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Headline"/>
                <a:ea typeface="+mn-ea"/>
                <a:cs typeface="Santander Headline"/>
              </a:rPr>
              <a:t> September 2025</a:t>
            </a:r>
            <a:endParaRPr kumimoji="0" lang="en-US" sz="2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antander Headline"/>
              <a:ea typeface="+mn-ea"/>
              <a:cs typeface="Santander Headline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2ABA22D-F23D-20AB-0DA8-B06D42BD65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35145" y="1534596"/>
            <a:ext cx="8687529" cy="1762214"/>
          </a:xfrm>
          <a:prstGeom prst="rect">
            <a:avLst/>
          </a:prstGeom>
        </p:spPr>
        <p:txBody>
          <a:bodyPr vert="horz" wrap="square" lIns="0" tIns="168275" rIns="0" bIns="0" rtlCol="0">
            <a:spAutoFit/>
          </a:bodyPr>
          <a:lstStyle/>
          <a:p>
            <a:pPr marL="0" marR="5080" indent="0">
              <a:lnSpc>
                <a:spcPts val="6000"/>
              </a:lnSpc>
              <a:spcBef>
                <a:spcPts val="1325"/>
              </a:spcBef>
              <a:buNone/>
            </a:pPr>
            <a:r>
              <a:rPr lang="en-US" sz="6000" dirty="0">
                <a:solidFill>
                  <a:schemeClr val="bg1"/>
                </a:solidFill>
                <a:latin typeface="Santander Text Light" panose="020B0304020201020104" pitchFamily="34" charset="0"/>
                <a:cs typeface="Santander Headline Light"/>
              </a:rPr>
              <a:t>Investments AI Circle</a:t>
            </a:r>
            <a:endParaRPr lang="en-US" sz="4000" dirty="0">
              <a:solidFill>
                <a:schemeClr val="bg1"/>
              </a:solidFill>
              <a:latin typeface="Santander Text Light" panose="020B0304020201020104" pitchFamily="34" charset="0"/>
              <a:cs typeface="Santander Headline Light"/>
            </a:endParaRPr>
          </a:p>
          <a:p>
            <a:pPr marL="0" marR="5080" indent="0">
              <a:lnSpc>
                <a:spcPts val="6000"/>
              </a:lnSpc>
              <a:spcBef>
                <a:spcPts val="1325"/>
              </a:spcBef>
              <a:buNone/>
            </a:pPr>
            <a:r>
              <a:rPr lang="en-US" sz="2400" b="1" dirty="0">
                <a:solidFill>
                  <a:schemeClr val="bg1"/>
                </a:solidFill>
                <a:latin typeface="Santander Text" panose="020B0504020201020104" pitchFamily="34" charset="0"/>
                <a:cs typeface="Santander Headline Light"/>
              </a:rPr>
              <a:t>FOLLOW-UP</a:t>
            </a:r>
            <a:endParaRPr lang="en-US" sz="4000" b="1" dirty="0">
              <a:solidFill>
                <a:schemeClr val="bg1"/>
              </a:solidFill>
              <a:latin typeface="Santander Text" panose="020B0504020201020104" pitchFamily="34" charset="0"/>
              <a:cs typeface="Santander Headline Ligh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02E59-C2D8-9F8B-12C7-DE3466F5D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A51052-13B1-D140-BD82-37071833DE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sz="2400" dirty="0"/>
              <a:t>4) Foundation Models for Time Series Analysis: A Tutorial and Survey - Liang et al. (2024)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220CC25D-8C1F-5668-0645-7A47DA7A4742}"/>
              </a:ext>
            </a:extLst>
          </p:cNvPr>
          <p:cNvSpPr txBox="1">
            <a:spLocks/>
          </p:cNvSpPr>
          <p:nvPr/>
        </p:nvSpPr>
        <p:spPr>
          <a:xfrm>
            <a:off x="439260" y="1483834"/>
            <a:ext cx="6780690" cy="118284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This paper is a survey/tutorial on the state of the art of </a:t>
            </a:r>
            <a:r>
              <a:rPr lang="en-US" sz="1800" b="1" dirty="0">
                <a:latin typeface="+mn-lt"/>
              </a:rPr>
              <a:t>foundation models applied to time series (TSFMs)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1726EE0-7A5B-14FD-7844-9535DBF36E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3250" y="1712433"/>
            <a:ext cx="4661006" cy="5070369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CAD2633C-8AB9-A86E-B0E7-9404477D3BBB}"/>
              </a:ext>
            </a:extLst>
          </p:cNvPr>
          <p:cNvSpPr txBox="1"/>
          <p:nvPr/>
        </p:nvSpPr>
        <p:spPr>
          <a:xfrm>
            <a:off x="7448551" y="1253001"/>
            <a:ext cx="42609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25000"/>
                  </a:schemeClr>
                </a:solidFill>
                <a:latin typeface="Santander Text" panose="020B0504020201020104" pitchFamily="34" charset="0"/>
              </a:rPr>
              <a:t>Taxonomy of TSFMs</a:t>
            </a:r>
          </a:p>
          <a:p>
            <a:pPr algn="ctr"/>
            <a:r>
              <a:rPr lang="en-US" sz="1200" b="1" dirty="0">
                <a:solidFill>
                  <a:schemeClr val="tx2">
                    <a:lumMod val="25000"/>
                  </a:schemeClr>
                </a:solidFill>
                <a:latin typeface="Santander Text" panose="020B0504020201020104" pitchFamily="34" charset="0"/>
              </a:rPr>
              <a:t>(categorized according to data and methodologies)</a:t>
            </a:r>
            <a:endParaRPr lang="es-ES" sz="1200" b="1" dirty="0">
              <a:solidFill>
                <a:schemeClr val="tx2">
                  <a:lumMod val="25000"/>
                </a:schemeClr>
              </a:solidFill>
              <a:latin typeface="Santander Text" panose="020B05040202010201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3BC6A473-B598-A985-4F87-40DAEB550745}"/>
              </a:ext>
            </a:extLst>
          </p:cNvPr>
          <p:cNvSpPr txBox="1"/>
          <p:nvPr/>
        </p:nvSpPr>
        <p:spPr>
          <a:xfrm>
            <a:off x="439259" y="2509148"/>
            <a:ext cx="6076159" cy="129266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US" sz="1200" dirty="0">
                <a:latin typeface="+mn-lt"/>
              </a:rPr>
              <a:t>Data types: standard time series, spatial time series, trajectories, and event sequences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US" sz="1200" dirty="0">
                <a:latin typeface="+mn-lt"/>
              </a:rPr>
              <a:t>Transformer-based, non-Transformer (MLPs, RNNs, CNNs), and diffusion-based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US" sz="1200" dirty="0">
                <a:latin typeface="+mn-lt"/>
              </a:rPr>
              <a:t>Pre-training techniques: supervised, self-supervised (generative, contrastive, hybrid)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US" sz="1200" dirty="0">
                <a:latin typeface="+mn-lt"/>
              </a:rPr>
              <a:t>Adaptation strategies: fine-tuning, zero-shot, prompting, tokenization.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4B375C52-2857-CB89-A58F-041ED00C007D}"/>
              </a:ext>
            </a:extLst>
          </p:cNvPr>
          <p:cNvSpPr txBox="1">
            <a:spLocks/>
          </p:cNvSpPr>
          <p:nvPr/>
        </p:nvSpPr>
        <p:spPr>
          <a:xfrm>
            <a:off x="439258" y="2224815"/>
            <a:ext cx="5394320" cy="2843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b="1" dirty="0">
                <a:latin typeface="Santander Text" panose="020B0504020201020104" pitchFamily="34" charset="0"/>
              </a:rPr>
              <a:t>Methodology-centric taxonomy </a:t>
            </a:r>
            <a:r>
              <a:rPr lang="en-US" dirty="0">
                <a:latin typeface="Santander Text" panose="020B0504020201020104" pitchFamily="34" charset="0"/>
              </a:rPr>
              <a:t>that organizes TSFMs along </a:t>
            </a:r>
            <a:r>
              <a:rPr lang="en-US" b="1" dirty="0">
                <a:latin typeface="Santander Text" panose="020B0504020201020104" pitchFamily="34" charset="0"/>
              </a:rPr>
              <a:t>four dimensions:</a:t>
            </a:r>
            <a:endParaRPr lang="en-US" dirty="0">
              <a:latin typeface="+mn-lt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7DD3AA5-DA41-0D55-1627-E0D2DBD9EA3F}"/>
              </a:ext>
            </a:extLst>
          </p:cNvPr>
          <p:cNvSpPr txBox="1"/>
          <p:nvPr/>
        </p:nvSpPr>
        <p:spPr>
          <a:xfrm>
            <a:off x="439259" y="5374166"/>
            <a:ext cx="6076159" cy="129266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+mn-lt"/>
              </a:rPr>
              <a:t>Efficient handling of long sequences (Transformers’ quadratic cost)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+mn-lt"/>
              </a:rPr>
              <a:t>Modeling </a:t>
            </a:r>
            <a:r>
              <a:rPr lang="en-US" sz="1200" i="1" dirty="0">
                <a:latin typeface="+mn-lt"/>
              </a:rPr>
              <a:t>distribution</a:t>
            </a:r>
            <a:r>
              <a:rPr lang="en-US" sz="1200" dirty="0">
                <a:latin typeface="+mn-lt"/>
              </a:rPr>
              <a:t> shifts and causal structures in time series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+mn-lt"/>
              </a:rPr>
              <a:t>Leveraging multimodal data for richer representations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+mn-lt"/>
              </a:rPr>
              <a:t>Preserving privacy in sensitive domains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71EC0E52-D543-67D0-DBF2-FC4560348DA8}"/>
              </a:ext>
            </a:extLst>
          </p:cNvPr>
          <p:cNvSpPr txBox="1">
            <a:spLocks/>
          </p:cNvSpPr>
          <p:nvPr/>
        </p:nvSpPr>
        <p:spPr>
          <a:xfrm>
            <a:off x="439258" y="5089833"/>
            <a:ext cx="5394320" cy="2843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b="1" dirty="0">
                <a:latin typeface="Santander Text" panose="020B0504020201020104" pitchFamily="34" charset="0"/>
              </a:rPr>
              <a:t>Open challenges:</a:t>
            </a:r>
            <a:endParaRPr lang="en-US" dirty="0">
              <a:latin typeface="+mn-lt"/>
            </a:endParaRPr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D7EAFAEA-927E-888B-432C-E65C0FD40FC4}"/>
              </a:ext>
            </a:extLst>
          </p:cNvPr>
          <p:cNvSpPr txBox="1">
            <a:spLocks/>
          </p:cNvSpPr>
          <p:nvPr/>
        </p:nvSpPr>
        <p:spPr>
          <a:xfrm>
            <a:off x="439259" y="3933673"/>
            <a:ext cx="6076160" cy="12926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Aft>
                <a:spcPts val="1200"/>
              </a:spcAft>
              <a:buClr>
                <a:srgbClr val="C00000"/>
              </a:buClr>
            </a:pPr>
            <a:r>
              <a:rPr lang="en-US" dirty="0">
                <a:latin typeface="+mn-lt"/>
              </a:rPr>
              <a:t>Summarizes representative models such as </a:t>
            </a:r>
            <a:r>
              <a:rPr lang="en-US" b="1" dirty="0">
                <a:latin typeface="+mn-lt"/>
              </a:rPr>
              <a:t>Lag-Llama, </a:t>
            </a:r>
            <a:r>
              <a:rPr lang="en-US" b="1" dirty="0" err="1">
                <a:latin typeface="+mn-lt"/>
              </a:rPr>
              <a:t>TimeGPT</a:t>
            </a:r>
            <a:r>
              <a:rPr lang="en-US" b="1" dirty="0">
                <a:latin typeface="+mn-lt"/>
              </a:rPr>
              <a:t>, Moirai, Chronos, </a:t>
            </a:r>
            <a:r>
              <a:rPr lang="en-US" b="1" dirty="0" err="1">
                <a:latin typeface="+mn-lt"/>
              </a:rPr>
              <a:t>TimesFM</a:t>
            </a:r>
            <a:r>
              <a:rPr lang="en-US" dirty="0">
                <a:latin typeface="+mn-lt"/>
              </a:rPr>
              <a:t>, highlighting their design choices and application domains.</a:t>
            </a:r>
          </a:p>
          <a:p>
            <a:pPr algn="just">
              <a:spcAft>
                <a:spcPts val="1200"/>
              </a:spcAft>
              <a:buClr>
                <a:srgbClr val="C00000"/>
              </a:buClr>
            </a:pPr>
            <a:r>
              <a:rPr lang="en-US" dirty="0">
                <a:latin typeface="+mn-lt"/>
              </a:rPr>
              <a:t>Discusses applications across </a:t>
            </a:r>
            <a:r>
              <a:rPr lang="en-US" b="1" dirty="0">
                <a:latin typeface="+mn-lt"/>
              </a:rPr>
              <a:t>finance, healthcare, climate, transportation, and mobility</a:t>
            </a:r>
            <a:r>
              <a:rPr lang="en-US" dirty="0">
                <a:latin typeface="+mn-lt"/>
              </a:rPr>
              <a:t>, including multimodal approaches integrating text, audio, or images.</a:t>
            </a:r>
          </a:p>
        </p:txBody>
      </p:sp>
    </p:spTree>
    <p:extLst>
      <p:ext uri="{BB962C8B-B14F-4D97-AF65-F5344CB8AC3E}">
        <p14:creationId xmlns:p14="http://schemas.microsoft.com/office/powerpoint/2010/main" val="1427957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289AD9-5FB8-BCB1-B553-FC03948EA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29382A-AD2D-8110-BF84-8E9660073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sz="2400" dirty="0"/>
              <a:t>4) Kronos: A Foundation Model for the Language of Financial Markets - Shi et al. (2025)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4D57F906-FEC7-48DD-58D1-BF9A5CD83B9C}"/>
              </a:ext>
            </a:extLst>
          </p:cNvPr>
          <p:cNvSpPr txBox="1">
            <a:spLocks/>
          </p:cNvSpPr>
          <p:nvPr/>
        </p:nvSpPr>
        <p:spPr>
          <a:xfrm>
            <a:off x="439260" y="1483834"/>
            <a:ext cx="6780690" cy="118284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This paper introduces Kronos, a </a:t>
            </a:r>
            <a:r>
              <a:rPr lang="en-US" sz="1800" b="1" dirty="0">
                <a:latin typeface="+mn-lt"/>
              </a:rPr>
              <a:t>foundation model designed </a:t>
            </a:r>
            <a:r>
              <a:rPr lang="en-US" sz="1800" dirty="0">
                <a:latin typeface="+mn-lt"/>
              </a:rPr>
              <a:t>specifically </a:t>
            </a:r>
            <a:r>
              <a:rPr lang="en-US" sz="1800" b="1" dirty="0">
                <a:latin typeface="+mn-lt"/>
              </a:rPr>
              <a:t>for financial time series based on candlestick data</a:t>
            </a:r>
            <a:r>
              <a:rPr lang="en-US" sz="1800" dirty="0">
                <a:latin typeface="+mn-lt"/>
              </a:rPr>
              <a:t> (K-line: OHLCVA).</a:t>
            </a:r>
          </a:p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Kronos positions itself as a robust and versatile </a:t>
            </a:r>
            <a:r>
              <a:rPr lang="en-US" sz="1800" b="1" dirty="0">
                <a:latin typeface="+mn-lt"/>
              </a:rPr>
              <a:t>foundation model for quantitative finance</a:t>
            </a:r>
            <a:r>
              <a:rPr lang="en-US" sz="1800" dirty="0">
                <a:latin typeface="+mn-lt"/>
              </a:rPr>
              <a:t>, outperforming both general-purpose TSFMs and traditional econometric/non-pre-trained models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37C341F-6ECC-3777-A0E2-5CA699933FD6}"/>
              </a:ext>
            </a:extLst>
          </p:cNvPr>
          <p:cNvSpPr txBox="1"/>
          <p:nvPr/>
        </p:nvSpPr>
        <p:spPr>
          <a:xfrm>
            <a:off x="439259" y="4688366"/>
            <a:ext cx="6076159" cy="147732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P</a:t>
            </a:r>
            <a:r>
              <a:rPr lang="en-US" sz="1200" b="1" dirty="0">
                <a:latin typeface="+mn-lt"/>
              </a:rPr>
              <a:t>rice and return forecasting</a:t>
            </a:r>
            <a:r>
              <a:rPr lang="en-US" sz="1200" dirty="0">
                <a:latin typeface="+mn-lt"/>
              </a:rPr>
              <a:t>: +93% </a:t>
            </a:r>
            <a:r>
              <a:rPr lang="en-US" sz="1200" dirty="0" err="1">
                <a:latin typeface="+mn-lt"/>
              </a:rPr>
              <a:t>RankIC</a:t>
            </a:r>
            <a:r>
              <a:rPr lang="en-US" sz="1200" dirty="0">
                <a:latin typeface="+mn-lt"/>
              </a:rPr>
              <a:t> improvement over the best existing TSFM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latin typeface="+mn-lt"/>
              </a:rPr>
              <a:t>Volatility forecasting</a:t>
            </a:r>
            <a:r>
              <a:rPr lang="en-US" sz="1200" dirty="0">
                <a:latin typeface="+mn-lt"/>
              </a:rPr>
              <a:t>: 9% lower MAE compared to econometric benchmarks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latin typeface="+mn-lt"/>
              </a:rPr>
              <a:t>Synthetic K-line generation</a:t>
            </a:r>
            <a:r>
              <a:rPr lang="en-US" sz="1200" dirty="0">
                <a:latin typeface="+mn-lt"/>
              </a:rPr>
              <a:t>: +22% fidelity improvement.</a:t>
            </a:r>
          </a:p>
          <a:p>
            <a:pPr marL="342900" indent="-342900" algn="just"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latin typeface="+mn-lt"/>
              </a:rPr>
              <a:t>Investment simulation</a:t>
            </a:r>
            <a:r>
              <a:rPr lang="en-US" sz="1200" dirty="0">
                <a:latin typeface="+mn-lt"/>
              </a:rPr>
              <a:t>: achieved the highest Annualized Excess Return (AER) and Information Ratio (IR) compared to 25 baselines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59D2A4ED-CD7A-75F3-5D99-6413BC25359B}"/>
              </a:ext>
            </a:extLst>
          </p:cNvPr>
          <p:cNvSpPr txBox="1">
            <a:spLocks/>
          </p:cNvSpPr>
          <p:nvPr/>
        </p:nvSpPr>
        <p:spPr>
          <a:xfrm>
            <a:off x="439258" y="4365933"/>
            <a:ext cx="5394320" cy="2843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b="1" dirty="0">
                <a:latin typeface="Santander Text" panose="020B0504020201020104" pitchFamily="34" charset="0"/>
              </a:rPr>
              <a:t>Evaluated on multiple tasks central to quantitative finance:</a:t>
            </a:r>
            <a:endParaRPr lang="en-US" dirty="0">
              <a:latin typeface="+mn-lt"/>
            </a:endParaRPr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8FAEDD9B-1EC6-D4E2-83DB-56E8CE4EAB81}"/>
              </a:ext>
            </a:extLst>
          </p:cNvPr>
          <p:cNvSpPr txBox="1">
            <a:spLocks/>
          </p:cNvSpPr>
          <p:nvPr/>
        </p:nvSpPr>
        <p:spPr>
          <a:xfrm>
            <a:off x="439259" y="3158973"/>
            <a:ext cx="6076160" cy="129266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Aft>
                <a:spcPts val="1200"/>
              </a:spcAft>
              <a:buClr>
                <a:srgbClr val="C00000"/>
              </a:buClr>
            </a:pPr>
            <a:r>
              <a:rPr lang="en-US" dirty="0">
                <a:latin typeface="+mn-lt"/>
              </a:rPr>
              <a:t>Proposes a </a:t>
            </a:r>
            <a:r>
              <a:rPr lang="en-US" b="1" dirty="0">
                <a:latin typeface="+mn-lt"/>
              </a:rPr>
              <a:t>specialized tokenizer </a:t>
            </a:r>
            <a:r>
              <a:rPr lang="en-US" dirty="0">
                <a:latin typeface="+mn-lt"/>
              </a:rPr>
              <a:t>that converts continuous financial data into hierarchical discrete tokens (</a:t>
            </a:r>
            <a:r>
              <a:rPr lang="en-US" i="1" dirty="0">
                <a:latin typeface="+mn-lt"/>
              </a:rPr>
              <a:t>coarse-to-fine</a:t>
            </a:r>
            <a:r>
              <a:rPr lang="en-US" dirty="0">
                <a:latin typeface="+mn-lt"/>
              </a:rPr>
              <a:t>), enabling multi-scale modeling of market dynamics.</a:t>
            </a:r>
          </a:p>
          <a:p>
            <a:pPr algn="just">
              <a:spcAft>
                <a:spcPts val="1200"/>
              </a:spcAft>
              <a:buClr>
                <a:srgbClr val="C00000"/>
              </a:buClr>
            </a:pPr>
            <a:r>
              <a:rPr lang="en-US" b="1" dirty="0">
                <a:latin typeface="+mn-lt"/>
              </a:rPr>
              <a:t>Pre-trained autoregressively on 12 billion K-lines from 45 global markets</a:t>
            </a:r>
            <a:r>
              <a:rPr lang="en-US" dirty="0">
                <a:latin typeface="+mn-lt"/>
              </a:rPr>
              <a:t>, capturing both temporal and cross-asset dependencies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6C907B9-D4B0-29AD-AAC6-07296A372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7159" y="2450862"/>
            <a:ext cx="4254719" cy="3295819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D44D3F4C-8803-6F40-CECB-CCA2A45A1A7D}"/>
              </a:ext>
            </a:extLst>
          </p:cNvPr>
          <p:cNvSpPr txBox="1"/>
          <p:nvPr/>
        </p:nvSpPr>
        <p:spPr>
          <a:xfrm>
            <a:off x="7750285" y="1829989"/>
            <a:ext cx="31940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25000"/>
                  </a:schemeClr>
                </a:solidFill>
                <a:latin typeface="Santander Text" panose="020B0504020201020104" pitchFamily="34" charset="0"/>
              </a:rPr>
              <a:t>Kronos performance across several quantitative finance task</a:t>
            </a:r>
            <a:endParaRPr lang="es-ES" sz="1200" b="1" dirty="0">
              <a:solidFill>
                <a:schemeClr val="tx2">
                  <a:lumMod val="25000"/>
                </a:schemeClr>
              </a:solidFill>
              <a:latin typeface="Santander Text" panose="020B050402020102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438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481FB-BFE7-6451-B9CF-16BB69A60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77E358-348A-9F53-3812-A646AEA1F6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5) 7 key lessons building AI-powered workflows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66E190E4-77CF-AFB1-1833-971AB0B8FED1}"/>
              </a:ext>
            </a:extLst>
          </p:cNvPr>
          <p:cNvSpPr txBox="1">
            <a:spLocks/>
          </p:cNvSpPr>
          <p:nvPr/>
        </p:nvSpPr>
        <p:spPr>
          <a:xfrm>
            <a:off x="439260" y="1483834"/>
            <a:ext cx="11364050" cy="118284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The article from Exponential View outlines seven key lessons from their experience building AI-powered workflows, along with a toolkit featuring over 50 tools they use. The central idea: integrate AI not as an add-on, but as a structural part of work and organizational culture.</a:t>
            </a:r>
          </a:p>
        </p:txBody>
      </p:sp>
      <p:sp>
        <p:nvSpPr>
          <p:cNvPr id="3" name="Marcador de texto 4">
            <a:extLst>
              <a:ext uri="{FF2B5EF4-FFF2-40B4-BE49-F238E27FC236}">
                <a16:creationId xmlns:a16="http://schemas.microsoft.com/office/drawing/2014/main" id="{F7E66239-F9D4-659E-1A96-9C38AEF418F2}"/>
              </a:ext>
            </a:extLst>
          </p:cNvPr>
          <p:cNvSpPr txBox="1">
            <a:spLocks/>
          </p:cNvSpPr>
          <p:nvPr/>
        </p:nvSpPr>
        <p:spPr>
          <a:xfrm>
            <a:off x="482605" y="2644517"/>
            <a:ext cx="3313414" cy="27682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/>
            </a:pPr>
            <a:r>
              <a:rPr lang="en-US" b="1" dirty="0">
                <a:latin typeface="Santander Text" panose="020B0504020201020104" pitchFamily="34" charset="0"/>
              </a:rPr>
              <a:t>The 5x Rule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If a task is repeated at least five times a month, it’s a candidate for automation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Example: a system that automates expenses, invoices, and travel reports, saving hours of repetitive tasks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5B2D6F7-9222-6A29-FC90-09EEE47FF342}"/>
              </a:ext>
            </a:extLst>
          </p:cNvPr>
          <p:cNvSpPr txBox="1">
            <a:spLocks/>
          </p:cNvSpPr>
          <p:nvPr/>
        </p:nvSpPr>
        <p:spPr>
          <a:xfrm>
            <a:off x="482605" y="4321566"/>
            <a:ext cx="3313414" cy="27682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 startAt="2"/>
            </a:pPr>
            <a:r>
              <a:rPr lang="en-US" b="1" dirty="0">
                <a:latin typeface="Santander Text" panose="020B0504020201020104" pitchFamily="34" charset="0"/>
              </a:rPr>
              <a:t>Modular Flows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It's better to break processes into small, autonomous modules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This facilitates testing, debugging, and scalability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Example: identifying potential partners → data enrichment → automated outreach drafting.</a:t>
            </a:r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3ABA68B-F559-B469-D499-13F77A47D60C}"/>
              </a:ext>
            </a:extLst>
          </p:cNvPr>
          <p:cNvSpPr txBox="1">
            <a:spLocks/>
          </p:cNvSpPr>
          <p:nvPr/>
        </p:nvSpPr>
        <p:spPr>
          <a:xfrm>
            <a:off x="4267438" y="2644517"/>
            <a:ext cx="3313414" cy="27682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 startAt="3"/>
            </a:pPr>
            <a:r>
              <a:rPr lang="en-US" b="1" dirty="0">
                <a:latin typeface="Santander Text" panose="020B0504020201020104" pitchFamily="34" charset="0"/>
              </a:rPr>
              <a:t>LLMs as Foremen, Not Bricklayers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Use LLMs to define and structure tasks, not to execute them end-to-end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Combine models with scripts, code, or deterministic tools for more reliable results.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92A49E5C-CF96-4124-0503-66ED328BE5AD}"/>
              </a:ext>
            </a:extLst>
          </p:cNvPr>
          <p:cNvSpPr txBox="1">
            <a:spLocks/>
          </p:cNvSpPr>
          <p:nvPr/>
        </p:nvSpPr>
        <p:spPr>
          <a:xfrm>
            <a:off x="4267438" y="3980950"/>
            <a:ext cx="3313414" cy="27682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 startAt="4"/>
            </a:pPr>
            <a:r>
              <a:rPr lang="en-US" b="1" dirty="0">
                <a:latin typeface="Santander Text" panose="020B0504020201020104" pitchFamily="34" charset="0"/>
              </a:rPr>
              <a:t>Living Documentation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AI keeps documentation updated in real time (e.g., transcribed voice notes, automated summaries)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This improves onboarding, coordination, and debugging.</a:t>
            </a:r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67642D40-C80A-6870-BCE8-E82AC288DCBD}"/>
              </a:ext>
            </a:extLst>
          </p:cNvPr>
          <p:cNvSpPr txBox="1">
            <a:spLocks/>
          </p:cNvSpPr>
          <p:nvPr/>
        </p:nvSpPr>
        <p:spPr>
          <a:xfrm>
            <a:off x="4267438" y="5334000"/>
            <a:ext cx="3313414" cy="15185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 startAt="5"/>
            </a:pPr>
            <a:r>
              <a:rPr lang="en-US" b="1" dirty="0">
                <a:latin typeface="Santander Text" panose="020B0504020201020104" pitchFamily="34" charset="0"/>
              </a:rPr>
              <a:t>Research + Prompting &gt; Prompting Alone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Prompting is more powerful when combined with updated context (papers, repos, best practices)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Example: redesigning a RAG pipeline using recent techniques, moving from generic output to actionable architecture.</a:t>
            </a: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ADE719A1-526D-D55E-D858-0F7D69191758}"/>
              </a:ext>
            </a:extLst>
          </p:cNvPr>
          <p:cNvSpPr txBox="1">
            <a:spLocks/>
          </p:cNvSpPr>
          <p:nvPr/>
        </p:nvSpPr>
        <p:spPr>
          <a:xfrm>
            <a:off x="8286145" y="2644517"/>
            <a:ext cx="3313414" cy="27682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 startAt="6"/>
            </a:pPr>
            <a:r>
              <a:rPr lang="en-US" b="1" dirty="0">
                <a:latin typeface="Santander Text" panose="020B0504020201020104" pitchFamily="34" charset="0"/>
              </a:rPr>
              <a:t>Time Compression as an Emotional Challenge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AI reduces tasks from hours to minutes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The challenge is not technical but psychological: learning to trust results that come “too fast” and resisting the urge to overcorrect.</a:t>
            </a: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73A924DB-87EF-66A3-79F5-95736A19D656}"/>
              </a:ext>
            </a:extLst>
          </p:cNvPr>
          <p:cNvSpPr txBox="1">
            <a:spLocks/>
          </p:cNvSpPr>
          <p:nvPr/>
        </p:nvSpPr>
        <p:spPr>
          <a:xfrm>
            <a:off x="8286145" y="4251657"/>
            <a:ext cx="3313414" cy="27682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buClr>
                <a:srgbClr val="C00000"/>
              </a:buClr>
              <a:buFont typeface="+mj-lt"/>
              <a:buAutoNum type="arabicPeriod" startAt="7"/>
            </a:pPr>
            <a:r>
              <a:rPr lang="en-US" b="1" dirty="0">
                <a:latin typeface="Santander Text" panose="020B0504020201020104" pitchFamily="34" charset="0"/>
              </a:rPr>
              <a:t>Humans Are Still the Core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AI enhances human work when it’s well-structured and documented.</a:t>
            </a:r>
          </a:p>
          <a:p>
            <a:pPr algn="just">
              <a:buClr>
                <a:srgbClr val="C00000"/>
              </a:buClr>
            </a:pPr>
            <a:r>
              <a:rPr lang="en-US" dirty="0">
                <a:latin typeface="+mn-lt"/>
              </a:rPr>
              <a:t>The key is scaffolding: AI + well-guided humans → greater impact without losing quality or judgment.</a:t>
            </a:r>
          </a:p>
        </p:txBody>
      </p:sp>
    </p:spTree>
    <p:extLst>
      <p:ext uri="{BB962C8B-B14F-4D97-AF65-F5344CB8AC3E}">
        <p14:creationId xmlns:p14="http://schemas.microsoft.com/office/powerpoint/2010/main" val="8756860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F9C14-9A55-978F-66EF-5E82BCBD1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F95705-6917-1727-A0C6-327AA67DDC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7) Takeaways (I)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280A4E55-B5B6-7FBE-ABE3-03B386534805}"/>
              </a:ext>
            </a:extLst>
          </p:cNvPr>
          <p:cNvSpPr txBox="1">
            <a:spLocks/>
          </p:cNvSpPr>
          <p:nvPr/>
        </p:nvSpPr>
        <p:spPr>
          <a:xfrm>
            <a:off x="439259" y="1508034"/>
            <a:ext cx="11309829" cy="497078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>
                <a:latin typeface="+mn-lt"/>
              </a:rPr>
              <a:t>General discussions</a:t>
            </a:r>
            <a:endParaRPr lang="en-US" sz="1800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Mistral model</a:t>
            </a:r>
            <a:r>
              <a:rPr lang="en-US" sz="1600" dirty="0">
                <a:latin typeface="+mn-lt"/>
              </a:rPr>
              <a:t> now embedded in Jupiter Hub for internal testing; users can </a:t>
            </a:r>
            <a:r>
              <a:rPr lang="en-US" sz="1600" b="1" dirty="0">
                <a:latin typeface="+mn-lt"/>
              </a:rPr>
              <a:t>modify temperature, tokens, system instructions, and prompt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A16Z </a:t>
            </a:r>
            <a:r>
              <a:rPr lang="en-US" sz="1600" dirty="0">
                <a:latin typeface="+mn-lt"/>
              </a:rPr>
              <a:t>published a list of the </a:t>
            </a:r>
            <a:r>
              <a:rPr lang="en-US" sz="1600" b="1" dirty="0">
                <a:latin typeface="+mn-lt"/>
              </a:rPr>
              <a:t>top 100 GenAI consumer apps</a:t>
            </a:r>
            <a:r>
              <a:rPr lang="en-US" sz="1600" dirty="0">
                <a:latin typeface="+mn-lt"/>
              </a:rPr>
              <a:t>, offering a good overview of mainstream tool usage and geographic distribut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Ongoing effort to compile all GPT use cases within SAM Global Investments 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 Awaiting IT clearance to share full description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  <a:sym typeface="Wingdings" panose="05000000000000000000" pitchFamily="2" charset="2"/>
              </a:rPr>
              <a:t>McKinsey Report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: Real ROI only comes </a:t>
            </a:r>
            <a:r>
              <a:rPr lang="en-US" sz="1600" b="1" dirty="0">
                <a:latin typeface="+mn-lt"/>
                <a:sym typeface="Wingdings" panose="05000000000000000000" pitchFamily="2" charset="2"/>
              </a:rPr>
              <a:t>with full org-wide cultural and technical transformat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  <a:sym typeface="Wingdings" panose="05000000000000000000" pitchFamily="2" charset="2"/>
              </a:rPr>
              <a:t>Foundational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 </a:t>
            </a:r>
            <a:r>
              <a:rPr lang="en-US" sz="1600" b="1" dirty="0">
                <a:latin typeface="+mn-lt"/>
                <a:sym typeface="Wingdings" panose="05000000000000000000" pitchFamily="2" charset="2"/>
              </a:rPr>
              <a:t>Models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: Taxonomy of models used in </a:t>
            </a:r>
            <a:r>
              <a:rPr lang="en-US" sz="1600" b="1" dirty="0">
                <a:latin typeface="+mn-lt"/>
                <a:sym typeface="Wingdings" panose="05000000000000000000" pitchFamily="2" charset="2"/>
              </a:rPr>
              <a:t>return/volatility forecasting 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and spotlight on </a:t>
            </a:r>
            <a:r>
              <a:rPr lang="en-US" sz="1600" b="1" dirty="0">
                <a:latin typeface="+mn-lt"/>
                <a:sym typeface="Wingdings" panose="05000000000000000000" pitchFamily="2" charset="2"/>
              </a:rPr>
              <a:t>Kronos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, a foundational model with </a:t>
            </a:r>
            <a:r>
              <a:rPr lang="en-US" sz="1600" b="1" dirty="0">
                <a:latin typeface="+mn-lt"/>
                <a:sym typeface="Wingdings" panose="05000000000000000000" pitchFamily="2" charset="2"/>
              </a:rPr>
              <a:t>strong performance in time series prediction  Relevant to QIS team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  <a:sym typeface="Wingdings" panose="05000000000000000000" pitchFamily="2" charset="2"/>
              </a:rPr>
              <a:t>Teams + ChatGPT: Structured Notes Bot (Mauro – Mexico): 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Microsoft Teams chatbot that parses </a:t>
            </a:r>
            <a:r>
              <a:rPr lang="en-US" sz="1600" b="1" dirty="0">
                <a:latin typeface="+mn-lt"/>
                <a:sym typeface="Wingdings" panose="05000000000000000000" pitchFamily="2" charset="2"/>
              </a:rPr>
              <a:t>market views from messages and structures options-based ideas.</a:t>
            </a:r>
            <a:endParaRPr lang="en-US" sz="16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32281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DE5D3-252F-6902-7998-6B36749B2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7B5DC1-1D0F-86F9-38C9-D0D374176B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7) Takeaways (II)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40D946A2-1DF1-7FB6-2870-3D1FF6982A53}"/>
              </a:ext>
            </a:extLst>
          </p:cNvPr>
          <p:cNvSpPr txBox="1">
            <a:spLocks/>
          </p:cNvSpPr>
          <p:nvPr/>
        </p:nvSpPr>
        <p:spPr>
          <a:xfrm>
            <a:off x="439259" y="1508034"/>
            <a:ext cx="11309829" cy="497078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>
                <a:latin typeface="+mn-lt"/>
              </a:rPr>
              <a:t>Technical Analyst GPT → </a:t>
            </a:r>
            <a:r>
              <a:rPr lang="en-US" sz="1800" b="1" dirty="0" err="1">
                <a:latin typeface="+mn-lt"/>
              </a:rPr>
              <a:t>Streamlit</a:t>
            </a:r>
            <a:r>
              <a:rPr lang="en-US" sz="1800" b="1" dirty="0">
                <a:latin typeface="+mn-lt"/>
              </a:rPr>
              <a:t> Dashboard</a:t>
            </a:r>
            <a:endParaRPr lang="en-US" sz="1800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</a:rPr>
              <a:t>Original GPT-based assistant evolved into a fully functional </a:t>
            </a:r>
            <a:r>
              <a:rPr lang="en-US" sz="1600" dirty="0" err="1">
                <a:latin typeface="+mn-lt"/>
              </a:rPr>
              <a:t>Streamlit</a:t>
            </a:r>
            <a:r>
              <a:rPr lang="en-US" sz="1600" dirty="0">
                <a:latin typeface="+mn-lt"/>
              </a:rPr>
              <a:t> dashboard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</a:rPr>
              <a:t>Key improvements:</a:t>
            </a:r>
          </a:p>
          <a:p>
            <a:pPr marL="714375" lvl="1" indent="-34290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No GPT API usage anymore → cost-saving</a:t>
            </a:r>
          </a:p>
          <a:p>
            <a:pPr marL="714375" lvl="1" indent="-34290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Bloomberg integration via Python package</a:t>
            </a:r>
          </a:p>
          <a:p>
            <a:pPr marL="714375" lvl="1" indent="-34290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Real-time technical analysis (RSI, MACD, Bollinger Bands, etc.) with asset selection</a:t>
            </a:r>
          </a:p>
          <a:p>
            <a:pPr marL="714375" lvl="1" indent="-34290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Graph plotting, candle pattern detection, and basic </a:t>
            </a:r>
            <a:r>
              <a:rPr lang="en-US" sz="1400" dirty="0" err="1">
                <a:latin typeface="+mn-lt"/>
              </a:rPr>
              <a:t>backtesting</a:t>
            </a:r>
            <a:r>
              <a:rPr lang="en-US" sz="1400" dirty="0">
                <a:latin typeface="+mn-lt"/>
              </a:rPr>
              <a:t> module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</a:rPr>
              <a:t>Limitations: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Bloomberg API can only retrieve price/volume, not precomputed indicators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 err="1">
                <a:latin typeface="+mn-lt"/>
              </a:rPr>
              <a:t>Backtesting</a:t>
            </a:r>
            <a:r>
              <a:rPr lang="en-US" sz="1400" dirty="0">
                <a:latin typeface="+mn-lt"/>
              </a:rPr>
              <a:t> and simulations need enhancement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</a:rPr>
              <a:t>Future plans: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Expand to fixed income and commodities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+mn-lt"/>
              </a:rPr>
              <a:t>Improve ranking, governance, and historical data handling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</a:rPr>
              <a:t>Code sharing across regions is feasible (vs. data sharing, which is restricted)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71836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C498B3-4BF2-E73F-61A1-A9D92BF9606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1AB47A-DE23-85CC-99F4-05D43026BAC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s-ES" dirty="0"/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3682512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95394-5604-3A30-5B7A-8A44B11B3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0BF2DC9-A5E8-256B-89B8-47048BF7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07314">
              <a:spcBef>
                <a:spcPts val="204"/>
              </a:spcBef>
            </a:pPr>
            <a:fld id="{81D60167-4931-47E6-BA6A-407CBD079E47}" type="slidenum">
              <a:rPr lang="es-ES" smtClean="0"/>
              <a:pPr marL="107314">
                <a:spcBef>
                  <a:spcPts val="204"/>
                </a:spcBef>
              </a:pPr>
              <a:t>2</a:t>
            </a:fld>
            <a:endParaRPr lang="es-ES" dirty="0"/>
          </a:p>
        </p:txBody>
      </p:sp>
      <p:pic>
        <p:nvPicPr>
          <p:cNvPr id="4" name="Imagen 3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F2082253-BF57-CDC8-3CB9-EB547D6FE5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71" y="845991"/>
            <a:ext cx="6226630" cy="601200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8D012857-B333-C97F-C296-F449DA4A0F04}"/>
              </a:ext>
            </a:extLst>
          </p:cNvPr>
          <p:cNvCxnSpPr>
            <a:cxnSpLocks/>
          </p:cNvCxnSpPr>
          <p:nvPr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80D29698-532B-BBFC-D784-098B875DEA05}"/>
              </a:ext>
            </a:extLst>
          </p:cNvPr>
          <p:cNvCxnSpPr>
            <a:cxnSpLocks/>
          </p:cNvCxnSpPr>
          <p:nvPr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5B69C2-82DA-4AA2-CE3D-92B1168C4913}"/>
              </a:ext>
            </a:extLst>
          </p:cNvPr>
          <p:cNvSpPr txBox="1">
            <a:spLocks/>
          </p:cNvSpPr>
          <p:nvPr/>
        </p:nvSpPr>
        <p:spPr>
          <a:xfrm>
            <a:off x="369094" y="1184650"/>
            <a:ext cx="10710384" cy="859303"/>
          </a:xfrm>
        </p:spPr>
        <p:txBody>
          <a:bodyPr/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Char char="•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 dirty="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</a:rPr>
              <a:t>Index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653FEEB-5B1B-5220-1426-D789485673FE}"/>
              </a:ext>
            </a:extLst>
          </p:cNvPr>
          <p:cNvSpPr txBox="1">
            <a:spLocks/>
          </p:cNvSpPr>
          <p:nvPr/>
        </p:nvSpPr>
        <p:spPr>
          <a:xfrm>
            <a:off x="423863" y="1987247"/>
            <a:ext cx="5138082" cy="4488700"/>
          </a:xfrm>
        </p:spPr>
        <p:txBody>
          <a:bodyPr/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Char char="•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1) </a:t>
            </a:r>
            <a:r>
              <a:rPr lang="en-US" sz="1600" b="1" dirty="0"/>
              <a:t>Recent updates in AI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2)</a:t>
            </a:r>
            <a:r>
              <a:rPr lang="en-US" sz="1600" b="1" dirty="0"/>
              <a:t> Technical Analyst GPT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3)</a:t>
            </a:r>
            <a:r>
              <a:rPr lang="en-US" sz="1600" b="1" dirty="0"/>
              <a:t> McKinsey: How AI could reshape the economics of Asset Management industry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4) </a:t>
            </a:r>
            <a:r>
              <a:rPr lang="en-US" sz="1600" b="1" dirty="0"/>
              <a:t>Foundation Models for Time Series Analysis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5) </a:t>
            </a:r>
            <a:r>
              <a:rPr lang="en-US" sz="1600" b="1" dirty="0"/>
              <a:t>Kronos: A Foundation Model for the Language of Financial Markets 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6) </a:t>
            </a:r>
            <a:r>
              <a:rPr lang="en-US" sz="1600" b="1" dirty="0"/>
              <a:t>7 key lessons building AI-powered workflows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7) </a:t>
            </a:r>
            <a:r>
              <a:rPr lang="en-US" sz="1600" b="1" dirty="0"/>
              <a:t>Takeaways</a:t>
            </a:r>
          </a:p>
        </p:txBody>
      </p:sp>
    </p:spTree>
    <p:extLst>
      <p:ext uri="{BB962C8B-B14F-4D97-AF65-F5344CB8AC3E}">
        <p14:creationId xmlns:p14="http://schemas.microsoft.com/office/powerpoint/2010/main" val="88093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F26DF-391D-3BA1-A528-B9E4179A62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16D71B-17A2-35E9-4D6F-30916BCC0B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1) Mistral 7B-Instruct Now Accessible via </a:t>
            </a:r>
            <a:r>
              <a:rPr lang="en-US" dirty="0" err="1"/>
              <a:t>JupyterHub</a:t>
            </a:r>
            <a:r>
              <a:rPr lang="en-US" dirty="0"/>
              <a:t> in SAM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C2A832E8-EFE9-839F-0564-909B9D205760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281470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>
                <a:solidFill>
                  <a:srgbClr val="FF0000"/>
                </a:solidFill>
                <a:latin typeface="Santander Text" panose="020B0504020201020104" pitchFamily="34" charset="0"/>
              </a:rPr>
              <a:t>We now have access to Mistral 7B-Instruct-v0.2 directly through </a:t>
            </a:r>
            <a:r>
              <a:rPr lang="en-US" sz="1800" b="1" dirty="0" err="1">
                <a:solidFill>
                  <a:srgbClr val="FF0000"/>
                </a:solidFill>
                <a:latin typeface="Santander Text" panose="020B0504020201020104" pitchFamily="34" charset="0"/>
              </a:rPr>
              <a:t>JupyterHub</a:t>
            </a:r>
            <a:r>
              <a:rPr lang="en-US" sz="1800" b="1" dirty="0">
                <a:solidFill>
                  <a:srgbClr val="FF0000"/>
                </a:solidFill>
                <a:latin typeface="Santander Text" panose="020B0504020201020104" pitchFamily="34" charset="0"/>
              </a:rPr>
              <a:t> for testing purposes</a:t>
            </a:r>
            <a:r>
              <a:rPr lang="en-US" sz="1800" dirty="0">
                <a:latin typeface="+mn-lt"/>
              </a:rPr>
              <a:t>, enabling structured experimentation with generative AI inside SAM Head of IT approved environment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Configurable workflows: </a:t>
            </a:r>
            <a:r>
              <a:rPr lang="en-US" sz="1800" dirty="0">
                <a:latin typeface="+mn-lt"/>
              </a:rPr>
              <a:t>Users can programmatically adjust parameters such as maximum tokens, temperature, system instructions, and prompts—facilitating systematic process automat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Governance: </a:t>
            </a:r>
            <a:r>
              <a:rPr lang="en-US" sz="1800" dirty="0">
                <a:latin typeface="+mn-lt"/>
              </a:rPr>
              <a:t>Access is provided via. A Group-wide initiative is underway to develop an official LLM API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Next steps: </a:t>
            </a:r>
            <a:r>
              <a:rPr lang="en-US" sz="1800" b="1" dirty="0">
                <a:solidFill>
                  <a:srgbClr val="FF0000"/>
                </a:solidFill>
                <a:latin typeface="Santander Text" panose="020B0504020201020104" pitchFamily="34" charset="0"/>
              </a:rPr>
              <a:t>Users interested </a:t>
            </a:r>
            <a:r>
              <a:rPr lang="en-US" sz="1800" dirty="0">
                <a:latin typeface="+mn-lt"/>
              </a:rPr>
              <a:t>in leveraging this model should </a:t>
            </a:r>
            <a:r>
              <a:rPr lang="en-US" sz="1800" b="1" dirty="0">
                <a:solidFill>
                  <a:srgbClr val="FF0000"/>
                </a:solidFill>
                <a:latin typeface="Santander Text" panose="020B0504020201020104" pitchFamily="34" charset="0"/>
              </a:rPr>
              <a:t>share their use cases and confirm GITF access </a:t>
            </a:r>
            <a:r>
              <a:rPr lang="en-US" sz="1800" dirty="0">
                <a:latin typeface="+mn-lt"/>
              </a:rPr>
              <a:t>requirements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FD6DE82-A963-69FB-384D-545762B104E3}"/>
              </a:ext>
            </a:extLst>
          </p:cNvPr>
          <p:cNvSpPr txBox="1"/>
          <p:nvPr/>
        </p:nvSpPr>
        <p:spPr>
          <a:xfrm>
            <a:off x="439259" y="5810559"/>
            <a:ext cx="11422541" cy="92333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This deployment provides a practical, secure framework to test and scale AI-driven processes, </a:t>
            </a:r>
            <a:r>
              <a:rPr lang="en-US" b="1" dirty="0">
                <a:solidFill>
                  <a:schemeClr val="bg1"/>
                </a:solidFill>
                <a:latin typeface="Santander Text" panose="020B0504020201020104" pitchFamily="34" charset="0"/>
              </a:rPr>
              <a:t>marking the first step toward building AI agents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, while preparing for the eventual adoption of the Group’s official LLM API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pic>
        <p:nvPicPr>
          <p:cNvPr id="1030" name="Picture 6" descr="Mistral AI Logo PNG Vector (SVG) Free Download">
            <a:extLst>
              <a:ext uri="{FF2B5EF4-FFF2-40B4-BE49-F238E27FC236}">
                <a16:creationId xmlns:a16="http://schemas.microsoft.com/office/drawing/2014/main" id="{F251B99D-845C-80DB-CE8D-9A54ABEAE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096" y="1244352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JupyterHub — JupyterHub 2.3.0 documentation">
            <a:extLst>
              <a:ext uri="{FF2B5EF4-FFF2-40B4-BE49-F238E27FC236}">
                <a16:creationId xmlns:a16="http://schemas.microsoft.com/office/drawing/2014/main" id="{3BE4271B-7EF2-7C8A-A1D6-64DD6FA69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4220" y="3814412"/>
            <a:ext cx="3022506" cy="95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arcador de texto 4">
            <a:extLst>
              <a:ext uri="{FF2B5EF4-FFF2-40B4-BE49-F238E27FC236}">
                <a16:creationId xmlns:a16="http://schemas.microsoft.com/office/drawing/2014/main" id="{E732AC8F-E7E4-D545-F74B-7DC7693E1653}"/>
              </a:ext>
            </a:extLst>
          </p:cNvPr>
          <p:cNvSpPr txBox="1">
            <a:spLocks/>
          </p:cNvSpPr>
          <p:nvPr/>
        </p:nvSpPr>
        <p:spPr>
          <a:xfrm>
            <a:off x="8946490" y="2769750"/>
            <a:ext cx="1076336" cy="11929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</a:pPr>
            <a:r>
              <a:rPr lang="en-US" sz="4800" dirty="0">
                <a:latin typeface="Aptos" panose="020B0004020202020204" pitchFamily="34" charset="0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38946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D7587-9249-65BA-3591-E685C83DB1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035EEC-9AC8-B71D-AB5F-8B13BF6A5F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2) Most Used AI Applications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7F3A3E6B-049F-605D-9A22-A38D364AFB3E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070398" cy="47410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A16Z has released its annual report on the most used Artificial Intelligence applications.</a:t>
            </a:r>
            <a:endParaRPr lang="en-US" sz="1800" b="1" dirty="0">
              <a:latin typeface="+mn-lt"/>
            </a:endParaRPr>
          </a:p>
          <a:p>
            <a:pPr algn="just">
              <a:buClr>
                <a:srgbClr val="C00000"/>
              </a:buClr>
            </a:pPr>
            <a:r>
              <a:rPr lang="en-US" sz="1800" b="1" dirty="0">
                <a:latin typeface="+mn-lt"/>
              </a:rPr>
              <a:t>Details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It can be viewed from the most visited or used, to those that have just launched. Few surprises, a market still heavily dominated by ChatGPT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However, </a:t>
            </a:r>
            <a:r>
              <a:rPr lang="en-US" sz="1800" b="1" dirty="0">
                <a:latin typeface="+mn-lt"/>
              </a:rPr>
              <a:t>Google and </a:t>
            </a:r>
            <a:r>
              <a:rPr lang="en-US" sz="1800" b="1" dirty="0" err="1">
                <a:latin typeface="+mn-lt"/>
              </a:rPr>
              <a:t>NotebookLM</a:t>
            </a:r>
            <a:r>
              <a:rPr lang="en-US" sz="1800" b="1" dirty="0">
                <a:latin typeface="+mn-lt"/>
              </a:rPr>
              <a:t> are growing and recovering, China is entering with its own apps, and programming remains a highly representative use case of this era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C7BA4D6-FEDC-25EB-0371-FF4CD00D153F}"/>
              </a:ext>
            </a:extLst>
          </p:cNvPr>
          <p:cNvSpPr txBox="1"/>
          <p:nvPr/>
        </p:nvSpPr>
        <p:spPr>
          <a:xfrm>
            <a:off x="6670808" y="5682361"/>
            <a:ext cx="540004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s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hlinkClick r:id="rId3"/>
              </a:rPr>
              <a:t>The Top 100 Gen AI Consumer Apps - 5th Edition | Andreessen Horowitz</a:t>
            </a:r>
            <a:endParaRPr lang="en-US" sz="14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331BC50-1570-C1DE-6C14-C256B9E2C5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4" t="5132" r="2064" b="6439"/>
          <a:stretch>
            <a:fillRect/>
          </a:stretch>
        </p:blipFill>
        <p:spPr bwMode="auto">
          <a:xfrm>
            <a:off x="7648039" y="3830784"/>
            <a:ext cx="3609985" cy="2078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78ABE3C-763F-44BA-991A-3A2484E522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" t="4960" r="2599" b="11810"/>
          <a:stretch>
            <a:fillRect/>
          </a:stretch>
        </p:blipFill>
        <p:spPr bwMode="auto">
          <a:xfrm>
            <a:off x="7548328" y="1567580"/>
            <a:ext cx="3809406" cy="2113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6C849D2-D8DB-D34B-F419-692CCDFCFA12}"/>
              </a:ext>
            </a:extLst>
          </p:cNvPr>
          <p:cNvSpPr txBox="1"/>
          <p:nvPr/>
        </p:nvSpPr>
        <p:spPr>
          <a:xfrm>
            <a:off x="439259" y="5078267"/>
            <a:ext cx="6070398" cy="1477328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When people say there are </a:t>
            </a:r>
            <a:r>
              <a:rPr lang="en-US" b="1" dirty="0">
                <a:solidFill>
                  <a:schemeClr val="bg1"/>
                </a:solidFill>
                <a:latin typeface="Santander Text" panose="020B0504020201020104" pitchFamily="34" charset="0"/>
              </a:rPr>
              <a:t>“many AI applications” 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(which there are), </a:t>
            </a:r>
            <a:r>
              <a:rPr lang="en-US" b="1" dirty="0">
                <a:solidFill>
                  <a:schemeClr val="bg1"/>
                </a:solidFill>
                <a:latin typeface="Santander Text" panose="020B0504020201020104" pitchFamily="34" charset="0"/>
              </a:rPr>
              <a:t>we should focus more on the ones that are actually being used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. It’s a common process of “explosion” and “concentration.” </a:t>
            </a:r>
            <a:r>
              <a:rPr lang="en-US" b="1" dirty="0">
                <a:solidFill>
                  <a:schemeClr val="bg1"/>
                </a:solidFill>
                <a:latin typeface="Santander Text" panose="020B0504020201020104" pitchFamily="34" charset="0"/>
              </a:rPr>
              <a:t>Many emerge, few will survive.</a:t>
            </a:r>
          </a:p>
        </p:txBody>
      </p:sp>
    </p:spTree>
    <p:extLst>
      <p:ext uri="{BB962C8B-B14F-4D97-AF65-F5344CB8AC3E}">
        <p14:creationId xmlns:p14="http://schemas.microsoft.com/office/powerpoint/2010/main" val="2604043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9ADE1-B3D7-1349-0369-9D7CB7EAB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2F6C1D-FEDC-702C-5020-F94D872F3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3) Microsoft ends OpenAI exclusivity in Office, adds rival Anthropic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646AC361-A9CD-B09B-FD22-3A537C56C047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361082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Anthropic announced that Claude can now generate and edit </a:t>
            </a:r>
            <a:r>
              <a:rPr lang="en-US" sz="1800" b="1" dirty="0">
                <a:latin typeface="+mn-lt"/>
              </a:rPr>
              <a:t>Excel, Word, PowerPoint, and PDFs </a:t>
            </a:r>
            <a:r>
              <a:rPr lang="en-US" sz="1800" dirty="0">
                <a:latin typeface="+mn-lt"/>
              </a:rPr>
              <a:t>directly within its app, moving beyond text responses to full document workflows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Technical progress</a:t>
            </a:r>
            <a:r>
              <a:rPr lang="en-US" sz="1800" dirty="0">
                <a:latin typeface="+mn-lt"/>
              </a:rPr>
              <a:t>: Users can describe tasks, upload data, and receive completed files—covering spreadsheets, slide decks, and formatted report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Competitive edge</a:t>
            </a:r>
            <a:r>
              <a:rPr lang="en-US" sz="1800" dirty="0">
                <a:latin typeface="+mn-lt"/>
              </a:rPr>
              <a:t>: Internal Microsoft tests reportedly found Claude Sonnet 4 outperforming OpenAI in spreadsheet automation and visual design, fueling interest in integrating Anthropic models into </a:t>
            </a:r>
            <a:r>
              <a:rPr lang="en-US" sz="1800" b="1" dirty="0">
                <a:latin typeface="+mn-lt"/>
              </a:rPr>
              <a:t>Office 365</a:t>
            </a:r>
            <a:r>
              <a:rPr lang="en-US" sz="1800" dirty="0">
                <a:latin typeface="+mn-lt"/>
              </a:rPr>
              <a:t>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Strategic positioning</a:t>
            </a:r>
            <a:r>
              <a:rPr lang="en-US" sz="1800" dirty="0">
                <a:latin typeface="+mn-lt"/>
              </a:rPr>
              <a:t>: Claude is evolving into a comprehensive workplace assistant, handling end-to-end document processes and competing at the core of enterprise productivity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808C393-A724-2032-9DE8-0B1B1BCFE463}"/>
              </a:ext>
            </a:extLst>
          </p:cNvPr>
          <p:cNvSpPr txBox="1"/>
          <p:nvPr/>
        </p:nvSpPr>
        <p:spPr>
          <a:xfrm>
            <a:off x="439258" y="5715822"/>
            <a:ext cx="6361081" cy="92333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By embedding into everyday business tools, Claude highlights how AI assistants are shifting from conversation to execution—reshaping the future of office work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411F693-FDAB-4FEE-A7CF-AF434D3FE9C7}"/>
              </a:ext>
            </a:extLst>
          </p:cNvPr>
          <p:cNvSpPr txBox="1"/>
          <p:nvPr/>
        </p:nvSpPr>
        <p:spPr>
          <a:xfrm>
            <a:off x="7378117" y="5740913"/>
            <a:ext cx="415588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400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s</a:t>
            </a:r>
            <a:r>
              <a:rPr lang="es-ES" sz="1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s-ES" sz="1400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ica</a:t>
            </a:r>
            <a:endParaRPr lang="es-ES" sz="1400" dirty="0"/>
          </a:p>
        </p:txBody>
      </p:sp>
      <p:pic>
        <p:nvPicPr>
          <p:cNvPr id="2050" name="Picture 2" descr="Discover the Versatility of Microsoft 365 - Queen's DigiHub">
            <a:extLst>
              <a:ext uri="{FF2B5EF4-FFF2-40B4-BE49-F238E27FC236}">
                <a16:creationId xmlns:a16="http://schemas.microsoft.com/office/drawing/2014/main" id="{5FD46D9F-4200-FB3E-70BE-DFF2D2B436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3F3F3"/>
              </a:clrFrom>
              <a:clrTo>
                <a:srgbClr val="F3F3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35" t="29464" r="25953" b="28408"/>
          <a:stretch>
            <a:fillRect/>
          </a:stretch>
        </p:blipFill>
        <p:spPr bwMode="auto">
          <a:xfrm>
            <a:off x="7826928" y="1647124"/>
            <a:ext cx="3222484" cy="155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nthropic, which is considered an open AI rival, has unveiled a product  line of artificial intellige.. - MK">
            <a:extLst>
              <a:ext uri="{FF2B5EF4-FFF2-40B4-BE49-F238E27FC236}">
                <a16:creationId xmlns:a16="http://schemas.microsoft.com/office/drawing/2014/main" id="{DDCE70D0-9A8E-FE29-FAB4-DC506ACB7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351" y="4007831"/>
            <a:ext cx="2952750" cy="155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arcador de texto 4">
            <a:extLst>
              <a:ext uri="{FF2B5EF4-FFF2-40B4-BE49-F238E27FC236}">
                <a16:creationId xmlns:a16="http://schemas.microsoft.com/office/drawing/2014/main" id="{6BC3C7B9-0B23-C74C-1A77-415F0518007A}"/>
              </a:ext>
            </a:extLst>
          </p:cNvPr>
          <p:cNvSpPr txBox="1">
            <a:spLocks/>
          </p:cNvSpPr>
          <p:nvPr/>
        </p:nvSpPr>
        <p:spPr>
          <a:xfrm>
            <a:off x="8946490" y="2966889"/>
            <a:ext cx="1076336" cy="11929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</a:pPr>
            <a:r>
              <a:rPr lang="en-US" sz="4800" dirty="0">
                <a:latin typeface="Aptos" panose="020B0004020202020204" pitchFamily="34" charset="0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2212496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F10A46-1655-6D4E-8D41-5CB1308790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DD21C-E118-B41A-0DBA-26CE4408D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2) Technical Analyst GPT</a:t>
            </a:r>
          </a:p>
        </p:txBody>
      </p: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F13CB3F7-D148-FC0F-CC71-CAA00355AC84}"/>
              </a:ext>
            </a:extLst>
          </p:cNvPr>
          <p:cNvSpPr txBox="1">
            <a:spLocks/>
          </p:cNvSpPr>
          <p:nvPr/>
        </p:nvSpPr>
        <p:spPr>
          <a:xfrm>
            <a:off x="364612" y="1453089"/>
            <a:ext cx="6508388" cy="503983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400" b="1" dirty="0">
                <a:latin typeface="+mn-lt"/>
              </a:rPr>
              <a:t>What is: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A technical decision agent assigning position scores from –3 to +3;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Full pipeline: indicators → back-test → risk management → pattern recognition → score;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Works across equities, FX, fixed income, and commodities.</a:t>
            </a:r>
          </a:p>
          <a:p>
            <a:pPr algn="just">
              <a:buClr>
                <a:srgbClr val="C00000"/>
              </a:buClr>
            </a:pPr>
            <a:r>
              <a:rPr lang="pt-BR" sz="1400" b="1" dirty="0" err="1">
                <a:latin typeface="+mn-lt"/>
              </a:rPr>
              <a:t>Benefits</a:t>
            </a:r>
            <a:endParaRPr lang="en-US" sz="14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Consistency &amp; Scale: automated, disciplined coverage across multiple assets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Statistical Rigor: walk-forward validation and Monte Carlo simulations ensure historical robustness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Transparent Decision-Making: includes entry, stop, target, and rationale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Tactical Management: score changes help trigger entry, hold, or exit actions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Stop Monitoring: both technical and statistical stops are logged and tracked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Potential for Continuous Improvement: scores archived and compared with future outcomes</a:t>
            </a:r>
          </a:p>
          <a:p>
            <a:pPr algn="just">
              <a:buClr>
                <a:srgbClr val="C00000"/>
              </a:buClr>
            </a:pPr>
            <a:r>
              <a:rPr lang="pt-BR" sz="1400" b="1" dirty="0" err="1">
                <a:latin typeface="+mn-lt"/>
              </a:rPr>
              <a:t>Challenges</a:t>
            </a:r>
            <a:r>
              <a:rPr lang="pt-BR" sz="1400" b="1" dirty="0">
                <a:latin typeface="+mn-lt"/>
              </a:rPr>
              <a:t>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Parameter Sensitivity: tuning window lengths and weights can impact signal stability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Regime Drift: market behavior shifts require periodic recalibration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Explainability: translating multiple signals into a concise, committee-ready pitch;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Automation &amp; Scalability: input is still manual — scaling to more assets remains a challenge.</a:t>
            </a:r>
          </a:p>
          <a:p>
            <a:pPr algn="just">
              <a:buClr>
                <a:srgbClr val="C00000"/>
              </a:buClr>
            </a:pPr>
            <a:br>
              <a:rPr lang="en-US" dirty="0"/>
            </a:br>
            <a:endParaRPr lang="en-US" dirty="0">
              <a:latin typeface="+mn-lt"/>
            </a:endParaRPr>
          </a:p>
        </p:txBody>
      </p:sp>
      <p:pic>
        <p:nvPicPr>
          <p:cNvPr id="7" name="Imagem 3">
            <a:extLst>
              <a:ext uri="{FF2B5EF4-FFF2-40B4-BE49-F238E27FC236}">
                <a16:creationId xmlns:a16="http://schemas.microsoft.com/office/drawing/2014/main" id="{39BE3503-12E5-A38E-3EC3-B0F8DD9822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4190" y="813667"/>
            <a:ext cx="5045230" cy="1278844"/>
          </a:xfrm>
          <a:prstGeom prst="rect">
            <a:avLst/>
          </a:prstGeom>
        </p:spPr>
      </p:pic>
      <p:pic>
        <p:nvPicPr>
          <p:cNvPr id="10" name="Imagem 12">
            <a:extLst>
              <a:ext uri="{FF2B5EF4-FFF2-40B4-BE49-F238E27FC236}">
                <a16:creationId xmlns:a16="http://schemas.microsoft.com/office/drawing/2014/main" id="{C30425E8-D1F0-4FB4-9F43-1E673E6EBB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5414" y="2092511"/>
            <a:ext cx="4849904" cy="642002"/>
          </a:xfrm>
          <a:prstGeom prst="rect">
            <a:avLst/>
          </a:prstGeom>
        </p:spPr>
      </p:pic>
      <p:pic>
        <p:nvPicPr>
          <p:cNvPr id="14" name="Imagem 14">
            <a:extLst>
              <a:ext uri="{FF2B5EF4-FFF2-40B4-BE49-F238E27FC236}">
                <a16:creationId xmlns:a16="http://schemas.microsoft.com/office/drawing/2014/main" id="{7EEAE318-5792-FBD9-F535-B534AE92C4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5414" y="2790001"/>
            <a:ext cx="4601824" cy="168351"/>
          </a:xfrm>
          <a:prstGeom prst="rect">
            <a:avLst/>
          </a:prstGeom>
        </p:spPr>
      </p:pic>
      <p:pic>
        <p:nvPicPr>
          <p:cNvPr id="15" name="Imagem 16">
            <a:extLst>
              <a:ext uri="{FF2B5EF4-FFF2-40B4-BE49-F238E27FC236}">
                <a16:creationId xmlns:a16="http://schemas.microsoft.com/office/drawing/2014/main" id="{23E3AC81-277B-8647-0DC4-809A0EAB67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95414" y="3013840"/>
            <a:ext cx="4465904" cy="168525"/>
          </a:xfrm>
          <a:prstGeom prst="rect">
            <a:avLst/>
          </a:prstGeom>
        </p:spPr>
      </p:pic>
      <p:pic>
        <p:nvPicPr>
          <p:cNvPr id="16" name="Imagem 18">
            <a:extLst>
              <a:ext uri="{FF2B5EF4-FFF2-40B4-BE49-F238E27FC236}">
                <a16:creationId xmlns:a16="http://schemas.microsoft.com/office/drawing/2014/main" id="{5120C9D3-6A96-697B-AF78-1A87CAC29F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1274" y="3182365"/>
            <a:ext cx="1198327" cy="148107"/>
          </a:xfrm>
          <a:prstGeom prst="rect">
            <a:avLst/>
          </a:prstGeom>
        </p:spPr>
      </p:pic>
      <p:pic>
        <p:nvPicPr>
          <p:cNvPr id="17" name="Imagem 20">
            <a:extLst>
              <a:ext uri="{FF2B5EF4-FFF2-40B4-BE49-F238E27FC236}">
                <a16:creationId xmlns:a16="http://schemas.microsoft.com/office/drawing/2014/main" id="{FEE20A0F-6E1D-4E19-694E-B8CB0465BA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1274" y="3342488"/>
            <a:ext cx="1333879" cy="150599"/>
          </a:xfrm>
          <a:prstGeom prst="rect">
            <a:avLst/>
          </a:prstGeom>
        </p:spPr>
      </p:pic>
      <p:pic>
        <p:nvPicPr>
          <p:cNvPr id="18" name="Imagem 22">
            <a:extLst>
              <a:ext uri="{FF2B5EF4-FFF2-40B4-BE49-F238E27FC236}">
                <a16:creationId xmlns:a16="http://schemas.microsoft.com/office/drawing/2014/main" id="{6E515B38-FF98-68A2-77F3-9D69BA89E7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3344" y="3523047"/>
            <a:ext cx="517010" cy="145409"/>
          </a:xfrm>
          <a:prstGeom prst="rect">
            <a:avLst/>
          </a:prstGeom>
        </p:spPr>
      </p:pic>
      <p:pic>
        <p:nvPicPr>
          <p:cNvPr id="19" name="Imagem 26">
            <a:extLst>
              <a:ext uri="{FF2B5EF4-FFF2-40B4-BE49-F238E27FC236}">
                <a16:creationId xmlns:a16="http://schemas.microsoft.com/office/drawing/2014/main" id="{A602CEAD-FEF0-EE5C-1CA6-EBF4ECDBCFF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10680" y="3684601"/>
            <a:ext cx="4801441" cy="520093"/>
          </a:xfrm>
          <a:prstGeom prst="rect">
            <a:avLst/>
          </a:prstGeom>
        </p:spPr>
      </p:pic>
      <p:pic>
        <p:nvPicPr>
          <p:cNvPr id="20" name="Imagem 28">
            <a:extLst>
              <a:ext uri="{FF2B5EF4-FFF2-40B4-BE49-F238E27FC236}">
                <a16:creationId xmlns:a16="http://schemas.microsoft.com/office/drawing/2014/main" id="{9115CDFC-8A24-5776-A206-47FF2881BC5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8519" y="3906937"/>
            <a:ext cx="4359923" cy="241380"/>
          </a:xfrm>
          <a:prstGeom prst="rect">
            <a:avLst/>
          </a:prstGeom>
        </p:spPr>
      </p:pic>
      <p:pic>
        <p:nvPicPr>
          <p:cNvPr id="21" name="Imagem 30">
            <a:extLst>
              <a:ext uri="{FF2B5EF4-FFF2-40B4-BE49-F238E27FC236}">
                <a16:creationId xmlns:a16="http://schemas.microsoft.com/office/drawing/2014/main" id="{BD3F6D75-F86C-799A-FCC8-2A6255F0D43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92750" y="4152239"/>
            <a:ext cx="1354473" cy="176670"/>
          </a:xfrm>
          <a:prstGeom prst="rect">
            <a:avLst/>
          </a:prstGeom>
        </p:spPr>
      </p:pic>
      <p:pic>
        <p:nvPicPr>
          <p:cNvPr id="22" name="Imagem 32">
            <a:extLst>
              <a:ext uri="{FF2B5EF4-FFF2-40B4-BE49-F238E27FC236}">
                <a16:creationId xmlns:a16="http://schemas.microsoft.com/office/drawing/2014/main" id="{52ED7F1A-C605-1536-B31F-936FE861D9F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22309" y="4331670"/>
            <a:ext cx="1670876" cy="193079"/>
          </a:xfrm>
          <a:prstGeom prst="rect">
            <a:avLst/>
          </a:prstGeom>
        </p:spPr>
      </p:pic>
      <p:pic>
        <p:nvPicPr>
          <p:cNvPr id="23" name="Imagem 34">
            <a:extLst>
              <a:ext uri="{FF2B5EF4-FFF2-40B4-BE49-F238E27FC236}">
                <a16:creationId xmlns:a16="http://schemas.microsoft.com/office/drawing/2014/main" id="{BDD73FF2-4970-A54F-39E3-287ABDE32D6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86449" y="4536480"/>
            <a:ext cx="2148587" cy="188887"/>
          </a:xfrm>
          <a:prstGeom prst="rect">
            <a:avLst/>
          </a:prstGeom>
        </p:spPr>
      </p:pic>
      <p:pic>
        <p:nvPicPr>
          <p:cNvPr id="24" name="Imagem 36">
            <a:extLst>
              <a:ext uri="{FF2B5EF4-FFF2-40B4-BE49-F238E27FC236}">
                <a16:creationId xmlns:a16="http://schemas.microsoft.com/office/drawing/2014/main" id="{09A50D9B-335B-CADB-1212-CD107F30E04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64190" y="4768514"/>
            <a:ext cx="2477188" cy="198787"/>
          </a:xfrm>
          <a:prstGeom prst="rect">
            <a:avLst/>
          </a:prstGeom>
        </p:spPr>
      </p:pic>
      <p:pic>
        <p:nvPicPr>
          <p:cNvPr id="25" name="Imagem 38">
            <a:extLst>
              <a:ext uri="{FF2B5EF4-FFF2-40B4-BE49-F238E27FC236}">
                <a16:creationId xmlns:a16="http://schemas.microsoft.com/office/drawing/2014/main" id="{F0AD392A-CD32-5538-520C-DE818938AC2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010680" y="4979808"/>
            <a:ext cx="1697771" cy="211165"/>
          </a:xfrm>
          <a:prstGeom prst="rect">
            <a:avLst/>
          </a:prstGeom>
        </p:spPr>
      </p:pic>
      <p:pic>
        <p:nvPicPr>
          <p:cNvPr id="26" name="Imagem 40">
            <a:extLst>
              <a:ext uri="{FF2B5EF4-FFF2-40B4-BE49-F238E27FC236}">
                <a16:creationId xmlns:a16="http://schemas.microsoft.com/office/drawing/2014/main" id="{85F8A0E8-7E18-815E-7F78-C1136B2D6B0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081320" y="5221742"/>
            <a:ext cx="4938898" cy="140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417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B23EF-E298-6CCB-2F4D-4B7DF3241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C8FB57-D79C-A914-5072-FD1EB144DF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2) Technical Analyst GPT</a:t>
            </a:r>
          </a:p>
        </p:txBody>
      </p:sp>
      <p:sp>
        <p:nvSpPr>
          <p:cNvPr id="3" name="Marcador de texto 4">
            <a:extLst>
              <a:ext uri="{FF2B5EF4-FFF2-40B4-BE49-F238E27FC236}">
                <a16:creationId xmlns:a16="http://schemas.microsoft.com/office/drawing/2014/main" id="{FDE79F57-E8CC-F979-4B44-87D1D51EBCD0}"/>
              </a:ext>
            </a:extLst>
          </p:cNvPr>
          <p:cNvSpPr txBox="1">
            <a:spLocks/>
          </p:cNvSpPr>
          <p:nvPr/>
        </p:nvSpPr>
        <p:spPr>
          <a:xfrm>
            <a:off x="364613" y="1153649"/>
            <a:ext cx="5731387" cy="516646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b="1" dirty="0" err="1"/>
              <a:t>Achievements</a:t>
            </a:r>
            <a:r>
              <a:rPr lang="pt-BR" sz="1600" b="1" dirty="0"/>
              <a:t> </a:t>
            </a:r>
            <a:r>
              <a:rPr lang="pt-BR" sz="1600" b="1" dirty="0" err="1"/>
              <a:t>so</a:t>
            </a:r>
            <a:r>
              <a:rPr lang="pt-BR" sz="1600" b="1" dirty="0"/>
              <a:t> </a:t>
            </a:r>
            <a:r>
              <a:rPr lang="pt-BR" sz="1600" b="1" dirty="0" err="1"/>
              <a:t>far</a:t>
            </a:r>
            <a:r>
              <a:rPr lang="pt-BR" sz="1600" b="1" dirty="0"/>
              <a:t>: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Built a </a:t>
            </a:r>
            <a:r>
              <a:rPr lang="en-US" sz="1400" b="1" dirty="0" err="1"/>
              <a:t>Streamlit</a:t>
            </a:r>
            <a:r>
              <a:rPr lang="en-US" sz="1400" b="1" dirty="0"/>
              <a:t> dashboard</a:t>
            </a:r>
            <a:r>
              <a:rPr lang="en-US" sz="1400" dirty="0"/>
              <a:t> using what we developed with GPT.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Established a </a:t>
            </a:r>
            <a:r>
              <a:rPr lang="en-US" sz="1400" b="1" dirty="0"/>
              <a:t>direct link with Bloomberg</a:t>
            </a:r>
            <a:r>
              <a:rPr lang="en-US" sz="1400" dirty="0"/>
              <a:t>, allowing asset-level analysis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Dashboard now performs </a:t>
            </a:r>
            <a:r>
              <a:rPr lang="en-US" sz="1400" b="1" dirty="0"/>
              <a:t>almost the same tasks as the GPT</a:t>
            </a:r>
            <a:r>
              <a:rPr lang="en-US" sz="1400" dirty="0"/>
              <a:t>, but in a more user-friendly and visual way.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Tool can be </a:t>
            </a:r>
            <a:r>
              <a:rPr lang="en-US" sz="1400" b="1" dirty="0"/>
              <a:t>shared across regions</a:t>
            </a:r>
            <a:r>
              <a:rPr lang="en-US" sz="1400" dirty="0"/>
              <a:t>, providing scalability.</a:t>
            </a:r>
          </a:p>
          <a:p>
            <a:pPr marL="285750" indent="-2857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400" b="1" dirty="0"/>
              <a:t>Lower cost</a:t>
            </a:r>
            <a:r>
              <a:rPr lang="en-US" sz="1400" dirty="0"/>
              <a:t>: doesn’t consume GPT tokens once deployed in </a:t>
            </a:r>
            <a:r>
              <a:rPr lang="en-US" sz="1400" dirty="0" err="1"/>
              <a:t>Streamlit</a:t>
            </a:r>
            <a:r>
              <a:rPr lang="en-US" sz="1400" dirty="0"/>
              <a:t>.</a:t>
            </a:r>
          </a:p>
          <a:p>
            <a:pPr>
              <a:buClr>
                <a:srgbClr val="C00000"/>
              </a:buClr>
            </a:pPr>
            <a:endParaRPr lang="pt-BR" sz="1000" b="1" dirty="0"/>
          </a:p>
          <a:p>
            <a:pPr>
              <a:buClr>
                <a:srgbClr val="C00000"/>
              </a:buClr>
            </a:pPr>
            <a:r>
              <a:rPr lang="pt-BR" sz="1600" b="1" dirty="0"/>
              <a:t>Next steps </a:t>
            </a:r>
            <a:r>
              <a:rPr lang="pt-BR" sz="1600" b="1" dirty="0" err="1"/>
              <a:t>to</a:t>
            </a:r>
            <a:r>
              <a:rPr lang="pt-BR" sz="1600" b="1" dirty="0"/>
              <a:t> evolve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nable the dashboard to </a:t>
            </a:r>
            <a:r>
              <a:rPr lang="en-US" sz="1400" b="1" dirty="0"/>
              <a:t>pull technical data directly from Bloomberg</a:t>
            </a:r>
            <a:r>
              <a:rPr lang="en-US" sz="1400" dirty="0"/>
              <a:t> (currently only price and volume)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Improve code to </a:t>
            </a:r>
            <a:r>
              <a:rPr lang="en-US" sz="1400" b="1" dirty="0"/>
              <a:t>import weekly and monthly data</a:t>
            </a:r>
            <a:r>
              <a:rPr lang="en-US" sz="1400" dirty="0"/>
              <a:t>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nhance </a:t>
            </a:r>
            <a:r>
              <a:rPr lang="en-US" sz="1400" b="1" dirty="0"/>
              <a:t>debugging and stability</a:t>
            </a:r>
            <a:r>
              <a:rPr lang="en-US" sz="1400" dirty="0"/>
              <a:t> for larger codebase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ntinue refining </a:t>
            </a:r>
            <a:r>
              <a:rPr lang="en-US" sz="1400" b="1" dirty="0" err="1"/>
              <a:t>backtesting</a:t>
            </a:r>
            <a:r>
              <a:rPr lang="en-US" sz="1400" b="1" dirty="0"/>
              <a:t> and simulation</a:t>
            </a:r>
            <a:r>
              <a:rPr lang="en-US" sz="1400" dirty="0"/>
              <a:t> capabilities.</a:t>
            </a:r>
          </a:p>
        </p:txBody>
      </p:sp>
      <p:pic>
        <p:nvPicPr>
          <p:cNvPr id="5" name="Imagem 18">
            <a:extLst>
              <a:ext uri="{FF2B5EF4-FFF2-40B4-BE49-F238E27FC236}">
                <a16:creationId xmlns:a16="http://schemas.microsoft.com/office/drawing/2014/main" id="{41444E58-9A91-6164-4B25-BCAFD9A475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634" y="864528"/>
            <a:ext cx="5731387" cy="2778048"/>
          </a:xfrm>
          <a:prstGeom prst="rect">
            <a:avLst/>
          </a:prstGeom>
        </p:spPr>
      </p:pic>
      <p:pic>
        <p:nvPicPr>
          <p:cNvPr id="6" name="Imagem 20">
            <a:extLst>
              <a:ext uri="{FF2B5EF4-FFF2-40B4-BE49-F238E27FC236}">
                <a16:creationId xmlns:a16="http://schemas.microsoft.com/office/drawing/2014/main" id="{D1880376-EABD-A807-BD10-9205ECB247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4635" y="3717221"/>
            <a:ext cx="5731387" cy="2825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648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0EE728-B89E-512E-E945-97E2BFD00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8BCA22-C6F7-D80E-7252-45595F4CC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3) McKinsey: How AI could reshape the economics of </a:t>
            </a:r>
            <a:r>
              <a:rPr lang="en-US" b="1" dirty="0"/>
              <a:t>Asset Management </a:t>
            </a:r>
            <a:r>
              <a:rPr lang="en-US" dirty="0"/>
              <a:t>industry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AD1CA653-5454-D01A-3A70-1BD41CFE4672}"/>
              </a:ext>
            </a:extLst>
          </p:cNvPr>
          <p:cNvSpPr txBox="1">
            <a:spLocks/>
          </p:cNvSpPr>
          <p:nvPr/>
        </p:nvSpPr>
        <p:spPr>
          <a:xfrm>
            <a:off x="439260" y="1798159"/>
            <a:ext cx="11364050" cy="118284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The asset management sector faces margin pressure due to the end of favorable tailwinds (low interest rates, stable growth) and rising technology costs without clear returns. </a:t>
            </a:r>
            <a:r>
              <a:rPr lang="en-US" sz="1800" b="1" dirty="0">
                <a:latin typeface="+mn-lt"/>
              </a:rPr>
              <a:t>Between 2019 and 2023</a:t>
            </a:r>
            <a:r>
              <a:rPr lang="en-US" sz="1800" dirty="0">
                <a:latin typeface="+mn-lt"/>
              </a:rPr>
              <a:t>, </a:t>
            </a:r>
            <a:r>
              <a:rPr lang="en-US" sz="1800" b="1" dirty="0">
                <a:latin typeface="+mn-lt"/>
              </a:rPr>
              <a:t>operating margins fell </a:t>
            </a:r>
            <a:r>
              <a:rPr lang="en-US" sz="1800" dirty="0">
                <a:latin typeface="+mn-lt"/>
              </a:rPr>
              <a:t>by three percentage points in North America and </a:t>
            </a:r>
            <a:r>
              <a:rPr lang="en-US" sz="1800" b="1" dirty="0">
                <a:latin typeface="+mn-lt"/>
              </a:rPr>
              <a:t>five in Europe</a:t>
            </a:r>
            <a:r>
              <a:rPr lang="en-US" sz="1800" dirty="0">
                <a:latin typeface="+mn-lt"/>
              </a:rPr>
              <a:t>, </a:t>
            </a:r>
            <a:r>
              <a:rPr lang="en-US" sz="1800" b="1" dirty="0">
                <a:latin typeface="+mn-lt"/>
              </a:rPr>
              <a:t>while technology spending grew nearly 9% annually, without significant productivity improvements.</a:t>
            </a:r>
            <a:endParaRPr lang="en-US" sz="1800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B46D4EB-2842-8186-D86B-99FF012223C6}"/>
              </a:ext>
            </a:extLst>
          </p:cNvPr>
          <p:cNvSpPr txBox="1"/>
          <p:nvPr/>
        </p:nvSpPr>
        <p:spPr>
          <a:xfrm>
            <a:off x="439260" y="4128116"/>
            <a:ext cx="6637816" cy="250837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Distribution and marketing (personalization, virtual assistants, automated content generation)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Investment management (research assistants, portfolio construction and optimization, enhanced risk models)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Compliance and risk (automated monitoring, regulatory interpretation)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Internal technology (code copilots, system maintenance, IT incident management).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04888499-A7F5-B199-6BD6-F29203F36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2375" y="2889072"/>
            <a:ext cx="4153273" cy="3947448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81D0DA93-5E6A-AE0A-2BAC-E75957CB8F2B}"/>
              </a:ext>
            </a:extLst>
          </p:cNvPr>
          <p:cNvSpPr txBox="1"/>
          <p:nvPr/>
        </p:nvSpPr>
        <p:spPr>
          <a:xfrm>
            <a:off x="363056" y="1341706"/>
            <a:ext cx="42851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noProof="0" dirty="0">
                <a:solidFill>
                  <a:schemeClr val="bg2">
                    <a:lumMod val="50000"/>
                  </a:schemeClr>
                </a:solidFill>
                <a:latin typeface="Santander Text" panose="020B0504020201020104" pitchFamily="34" charset="0"/>
              </a:rPr>
              <a:t>Rising tech costs, shrinking margins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68A2336-7526-F816-BA87-93B739D17579}"/>
              </a:ext>
            </a:extLst>
          </p:cNvPr>
          <p:cNvSpPr txBox="1">
            <a:spLocks/>
          </p:cNvSpPr>
          <p:nvPr/>
        </p:nvSpPr>
        <p:spPr>
          <a:xfrm>
            <a:off x="439258" y="3048863"/>
            <a:ext cx="6637817" cy="118284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/>
              <a:t>Artificial intelligence emerges as a key lever to reverse this trend.</a:t>
            </a:r>
            <a:r>
              <a:rPr lang="en-US" sz="1800" dirty="0"/>
              <a:t> McKinsey estimates it could </a:t>
            </a:r>
            <a:r>
              <a:rPr lang="en-US" sz="1800" b="1" dirty="0"/>
              <a:t>generate efficiencies equivalent to 25–40% of a manager’s cost base</a:t>
            </a:r>
            <a:r>
              <a:rPr lang="en-US" sz="1800" dirty="0"/>
              <a:t>. The highest-potential </a:t>
            </a:r>
            <a:r>
              <a:rPr lang="en-US" sz="1800" b="1" dirty="0"/>
              <a:t>use cases </a:t>
            </a:r>
            <a:r>
              <a:rPr lang="en-US" sz="1800" dirty="0"/>
              <a:t>include:</a:t>
            </a:r>
          </a:p>
        </p:txBody>
      </p:sp>
    </p:spTree>
    <p:extLst>
      <p:ext uri="{BB962C8B-B14F-4D97-AF65-F5344CB8AC3E}">
        <p14:creationId xmlns:p14="http://schemas.microsoft.com/office/powerpoint/2010/main" val="22173607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587FE5-7008-BE9C-7C71-0430C965C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8D3E94-E914-A38C-9529-5F4F0692C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3) McKinsey: How AI could reshape the economics of </a:t>
            </a:r>
            <a:r>
              <a:rPr lang="en-US" b="1" dirty="0"/>
              <a:t>Asset Management </a:t>
            </a:r>
            <a:r>
              <a:rPr lang="en-US" dirty="0"/>
              <a:t>industry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3120EEDD-E969-19DB-0092-6DE7916F817D}"/>
              </a:ext>
            </a:extLst>
          </p:cNvPr>
          <p:cNvSpPr txBox="1">
            <a:spLocks/>
          </p:cNvSpPr>
          <p:nvPr/>
        </p:nvSpPr>
        <p:spPr>
          <a:xfrm>
            <a:off x="439260" y="1798159"/>
            <a:ext cx="6028215" cy="118284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The report stresses that benefits will only materialize through </a:t>
            </a:r>
            <a:r>
              <a:rPr lang="en-US" sz="1800" b="1" dirty="0">
                <a:latin typeface="+mn-lt"/>
              </a:rPr>
              <a:t>domain-wide </a:t>
            </a:r>
            <a:r>
              <a:rPr lang="en-US" sz="1800" dirty="0">
                <a:latin typeface="+mn-lt"/>
              </a:rPr>
              <a:t>redesigns, not isolated projects. It proposes six strategic pillars:</a:t>
            </a:r>
            <a:endParaRPr lang="en-US" sz="1800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D265D40-E36F-F920-FDC8-F5AC243934A6}"/>
              </a:ext>
            </a:extLst>
          </p:cNvPr>
          <p:cNvSpPr txBox="1"/>
          <p:nvPr/>
        </p:nvSpPr>
        <p:spPr>
          <a:xfrm>
            <a:off x="439259" y="2956541"/>
            <a:ext cx="6028215" cy="321626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Domain-based transformation (rather than fragmented use cases)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Talent strategy and AI upskilling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Operating models with centralized governance and decentralized execution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Control of the technology roadmap and strategic use of vendors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Unified data platforms and robust governance.</a:t>
            </a:r>
          </a:p>
          <a:p>
            <a:pPr marL="285750" indent="-285750" algn="just">
              <a:spcAft>
                <a:spcPts val="1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n-lt"/>
              </a:rPr>
              <a:t>Change management and cultural adoption, supported by training and incentives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4C35B70-212A-FE92-B3DB-E13FD4CBEDF1}"/>
              </a:ext>
            </a:extLst>
          </p:cNvPr>
          <p:cNvSpPr txBox="1"/>
          <p:nvPr/>
        </p:nvSpPr>
        <p:spPr>
          <a:xfrm>
            <a:off x="363056" y="1341706"/>
            <a:ext cx="71507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noProof="0" dirty="0">
                <a:solidFill>
                  <a:schemeClr val="bg2">
                    <a:lumMod val="50000"/>
                  </a:schemeClr>
                </a:solidFill>
                <a:latin typeface="Santander Text" panose="020B0504020201020104" pitchFamily="34" charset="0"/>
              </a:rPr>
              <a:t>Unlocking profitability with domain-wide AI transformation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6E603FD-9D10-B8ED-62C3-F220A299F6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3778"/>
          <a:stretch>
            <a:fillRect/>
          </a:stretch>
        </p:blipFill>
        <p:spPr>
          <a:xfrm>
            <a:off x="7543803" y="1562560"/>
            <a:ext cx="4175240" cy="529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193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M_Cover Pages, Cover Pages, Impact Phrases">
  <a:themeElements>
    <a:clrScheme name="SAM COLORES DEFINITIVOS">
      <a:dk1>
        <a:srgbClr val="000715"/>
      </a:dk1>
      <a:lt1>
        <a:srgbClr val="FFFFFF"/>
      </a:lt1>
      <a:dk2>
        <a:srgbClr val="E8E8E8"/>
      </a:dk2>
      <a:lt2>
        <a:srgbClr val="AEAEAE"/>
      </a:lt2>
      <a:accent1>
        <a:srgbClr val="002630"/>
      </a:accent1>
      <a:accent2>
        <a:srgbClr val="005471"/>
      </a:accent2>
      <a:accent3>
        <a:srgbClr val="EC0000"/>
      </a:accent3>
      <a:accent4>
        <a:srgbClr val="E8E8E8"/>
      </a:accent4>
      <a:accent5>
        <a:srgbClr val="9A004F"/>
      </a:accent5>
      <a:accent6>
        <a:srgbClr val="D0B047"/>
      </a:accent6>
      <a:hlink>
        <a:srgbClr val="005471"/>
      </a:hlink>
      <a:folHlink>
        <a:srgbClr val="D0D0D0"/>
      </a:folHlink>
    </a:clrScheme>
    <a:fontScheme name="SA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AM Template">
  <a:themeElements>
    <a:clrScheme name="SAM COLORES DEFINITIVOS">
      <a:dk1>
        <a:srgbClr val="000715"/>
      </a:dk1>
      <a:lt1>
        <a:srgbClr val="FFFFFF"/>
      </a:lt1>
      <a:dk2>
        <a:srgbClr val="E8E8E8"/>
      </a:dk2>
      <a:lt2>
        <a:srgbClr val="AEAEAE"/>
      </a:lt2>
      <a:accent1>
        <a:srgbClr val="002630"/>
      </a:accent1>
      <a:accent2>
        <a:srgbClr val="005471"/>
      </a:accent2>
      <a:accent3>
        <a:srgbClr val="EC0000"/>
      </a:accent3>
      <a:accent4>
        <a:srgbClr val="E8E8E8"/>
      </a:accent4>
      <a:accent5>
        <a:srgbClr val="9A004F"/>
      </a:accent5>
      <a:accent6>
        <a:srgbClr val="D0B047"/>
      </a:accent6>
      <a:hlink>
        <a:srgbClr val="005471"/>
      </a:hlink>
      <a:folHlink>
        <a:srgbClr val="D0D0D0"/>
      </a:folHlink>
    </a:clrScheme>
    <a:fontScheme name="SAM_2021">
      <a:majorFont>
        <a:latin typeface="Santander Headline Light"/>
        <a:ea typeface=""/>
        <a:cs typeface=""/>
      </a:majorFont>
      <a:minorFont>
        <a:latin typeface="Santander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62</Words>
  <Application>Microsoft Office PowerPoint</Application>
  <PresentationFormat>Panorámica</PresentationFormat>
  <Paragraphs>174</Paragraphs>
  <Slides>15</Slides>
  <Notes>12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6" baseType="lpstr">
      <vt:lpstr>Santander Headline</vt:lpstr>
      <vt:lpstr>Aptos</vt:lpstr>
      <vt:lpstr>Arial</vt:lpstr>
      <vt:lpstr>Calibri</vt:lpstr>
      <vt:lpstr>Courier New</vt:lpstr>
      <vt:lpstr>Santander Text</vt:lpstr>
      <vt:lpstr>Santander Text Light</vt:lpstr>
      <vt:lpstr>Wingdings</vt:lpstr>
      <vt:lpstr>SAM_Cover Pages, Cover Pages, Impact Phrases</vt:lpstr>
      <vt:lpstr>SAM Template</vt:lpstr>
      <vt:lpstr>think-cell Slide</vt:lpstr>
      <vt:lpstr>Presentación de PowerPoint</vt:lpstr>
      <vt:lpstr>Presentación de PowerPoint</vt:lpstr>
      <vt:lpstr>1.1) Mistral 7B-Instruct Now Accessible via JupyterHub in SAM</vt:lpstr>
      <vt:lpstr>1.2) Most Used AI Applications</vt:lpstr>
      <vt:lpstr>1.3) Microsoft ends OpenAI exclusivity in Office, adds rival Anthropic</vt:lpstr>
      <vt:lpstr>2) Technical Analyst GPT</vt:lpstr>
      <vt:lpstr>2) Technical Analyst GPT</vt:lpstr>
      <vt:lpstr>3) McKinsey: How AI could reshape the economics of Asset Management industry</vt:lpstr>
      <vt:lpstr>3) McKinsey: How AI could reshape the economics of Asset Management industry</vt:lpstr>
      <vt:lpstr>4) Foundation Models for Time Series Analysis: A Tutorial and Survey - Liang et al. (2024)</vt:lpstr>
      <vt:lpstr>4) Kronos: A Foundation Model for the Language of Financial Markets - Shi et al. (2025)</vt:lpstr>
      <vt:lpstr>5) 7 key lessons building AI-powered workflows</vt:lpstr>
      <vt:lpstr>7) Takeaways (I)</vt:lpstr>
      <vt:lpstr>7) Takeaways (II)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Karina Chocano Palomino</dc:creator>
  <cp:lastModifiedBy>Munarriz Herrador Iñaki</cp:lastModifiedBy>
  <cp:revision>908</cp:revision>
  <cp:lastPrinted>2023-05-24T06:58:43Z</cp:lastPrinted>
  <dcterms:created xsi:type="dcterms:W3CDTF">2019-01-11T18:46:24Z</dcterms:created>
  <dcterms:modified xsi:type="dcterms:W3CDTF">2025-09-22T16:2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3-01-18T17:54:17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f7c9b8b4-d010-4586-8f12-2df85b2e7d54</vt:lpwstr>
  </property>
  <property fmtid="{D5CDD505-2E9C-101B-9397-08002B2CF9AE}" pid="8" name="MSIP_Label_0c2abd79-57a9-4473-8700-c843f76a1e37_ContentBits">
    <vt:lpwstr>0</vt:lpwstr>
  </property>
</Properties>
</file>